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1"/>
    <p:sldMasterId id="2147483700" r:id="rId2"/>
  </p:sldMasterIdLst>
  <p:notesMasterIdLst>
    <p:notesMasterId r:id="rId17"/>
  </p:notesMasterIdLst>
  <p:handoutMasterIdLst>
    <p:handoutMasterId r:id="rId18"/>
  </p:handoutMasterIdLst>
  <p:sldIdLst>
    <p:sldId id="4681" r:id="rId3"/>
    <p:sldId id="4586" r:id="rId4"/>
    <p:sldId id="4685" r:id="rId5"/>
    <p:sldId id="4599" r:id="rId6"/>
    <p:sldId id="4588" r:id="rId7"/>
    <p:sldId id="4587" r:id="rId8"/>
    <p:sldId id="4601" r:id="rId9"/>
    <p:sldId id="4672" r:id="rId10"/>
    <p:sldId id="4673" r:id="rId11"/>
    <p:sldId id="4677" r:id="rId12"/>
    <p:sldId id="4671" r:id="rId13"/>
    <p:sldId id="4607" r:id="rId14"/>
    <p:sldId id="4680" r:id="rId15"/>
    <p:sldId id="4653" r:id="rId16"/>
  </p:sldIdLst>
  <p:sldSz cx="12192000" cy="6858000"/>
  <p:notesSz cx="7104063" cy="10234613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A244"/>
    <a:srgbClr val="CC0000"/>
    <a:srgbClr val="CC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76" autoAdjust="0"/>
    <p:restoredTop sz="89766"/>
  </p:normalViewPr>
  <p:slideViewPr>
    <p:cSldViewPr snapToGrid="0">
      <p:cViewPr varScale="1">
        <p:scale>
          <a:sx n="98" d="100"/>
          <a:sy n="98" d="100"/>
        </p:scale>
        <p:origin x="936" y="20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Libro5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Libro5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013123359580047E-2"/>
          <c:y val="2.4014525066087169E-2"/>
          <c:w val="0.88659580052493436"/>
          <c:h val="0.82590203106332138"/>
        </c:manualLayout>
      </c:layout>
      <c:areaChart>
        <c:grouping val="standard"/>
        <c:varyColors val="0"/>
        <c:ser>
          <c:idx val="0"/>
          <c:order val="0"/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7.3344917081742426E-3"/>
                  <c:y val="-6.21266427718041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9EA-42C1-ACCE-496F5D4790B9}"/>
                </c:ext>
              </c:extLst>
            </c:dLbl>
            <c:dLbl>
              <c:idx val="1"/>
              <c:layout>
                <c:manualLayout>
                  <c:x val="-4.6511457785091311E-3"/>
                  <c:y val="-0.130824560908381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9EA-42C1-ACCE-496F5D4790B9}"/>
                </c:ext>
              </c:extLst>
            </c:dLbl>
            <c:dLbl>
              <c:idx val="2"/>
              <c:layout>
                <c:manualLayout>
                  <c:x val="-1.2224152846957071E-2"/>
                  <c:y val="-0.324970131421744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9EA-42C1-ACCE-496F5D4790B9}"/>
                </c:ext>
              </c:extLst>
            </c:dLbl>
            <c:dLbl>
              <c:idx val="3"/>
              <c:layout>
                <c:manualLayout>
                  <c:x val="2.4448305693913247E-3"/>
                  <c:y val="-0.253285543608124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9EA-42C1-ACCE-496F5D4790B9}"/>
                </c:ext>
              </c:extLst>
            </c:dLbl>
            <c:dLbl>
              <c:idx val="4"/>
              <c:layout>
                <c:manualLayout>
                  <c:x val="-7.3344917081742426E-3"/>
                  <c:y val="-0.1433691756272402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EA-42C1-ACCE-496F5D4790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C$3:$C$7</c:f>
              <c:strCache>
                <c:ptCount val="5"/>
                <c:pt idx="0">
                  <c:v>A+</c:v>
                </c:pt>
                <c:pt idx="1">
                  <c:v>A </c:v>
                </c:pt>
                <c:pt idx="2">
                  <c:v>B</c:v>
                </c:pt>
                <c:pt idx="3">
                  <c:v>C</c:v>
                </c:pt>
                <c:pt idx="4">
                  <c:v>D</c:v>
                </c:pt>
              </c:strCache>
            </c:strRef>
          </c:cat>
          <c:val>
            <c:numRef>
              <c:f>Hoja2!$D$3:$D$7</c:f>
              <c:numCache>
                <c:formatCode>General</c:formatCode>
                <c:ptCount val="5"/>
                <c:pt idx="0">
                  <c:v>6</c:v>
                </c:pt>
                <c:pt idx="1">
                  <c:v>47</c:v>
                </c:pt>
                <c:pt idx="2">
                  <c:v>187</c:v>
                </c:pt>
                <c:pt idx="3">
                  <c:v>128</c:v>
                </c:pt>
                <c:pt idx="4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EA-42C1-ACCE-496F5D479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78180351"/>
        <c:axId val="1078187007"/>
      </c:areaChart>
      <c:catAx>
        <c:axId val="107818035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078187007"/>
        <c:crosses val="autoZero"/>
        <c:auto val="1"/>
        <c:lblAlgn val="ctr"/>
        <c:lblOffset val="100"/>
        <c:noMultiLvlLbl val="0"/>
      </c:catAx>
      <c:valAx>
        <c:axId val="1078187007"/>
        <c:scaling>
          <c:orientation val="minMax"/>
          <c:max val="280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078180351"/>
        <c:crosses val="autoZero"/>
        <c:crossBetween val="midCat"/>
        <c:majorUnit val="40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375328083989508E-2"/>
          <c:y val="7.6463560334528072E-2"/>
          <c:w val="0.87915244969378825"/>
          <c:h val="0.84238948626045396"/>
        </c:manualLayout>
      </c:layout>
      <c:areaChart>
        <c:grouping val="standar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-2.5379016629051157E-3"/>
                  <c:y val="-0.109916367980884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7C-4CA6-8EDE-5CCA84758475}"/>
                </c:ext>
              </c:extLst>
            </c:dLbl>
            <c:dLbl>
              <c:idx val="1"/>
              <c:layout>
                <c:manualLayout>
                  <c:x val="-1.7765311640335769E-2"/>
                  <c:y val="-0.172043010752688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77C-4CA6-8EDE-5CCA84758475}"/>
                </c:ext>
              </c:extLst>
            </c:dLbl>
            <c:dLbl>
              <c:idx val="2"/>
              <c:layout>
                <c:manualLayout>
                  <c:x val="-5.8371738246817531E-2"/>
                  <c:y val="-0.391875746714456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77C-4CA6-8EDE-5CCA84758475}"/>
                </c:ext>
              </c:extLst>
            </c:dLbl>
            <c:dLbl>
              <c:idx val="3"/>
              <c:layout>
                <c:manualLayout>
                  <c:x val="1.7765311640335769E-2"/>
                  <c:y val="-0.152927120669056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77C-4CA6-8EDE-5CCA84758475}"/>
                </c:ext>
              </c:extLst>
            </c:dLbl>
            <c:dLbl>
              <c:idx val="4"/>
              <c:layout>
                <c:manualLayout>
                  <c:x val="-2.5379016629051101E-3"/>
                  <c:y val="-0.109916367980884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77C-4CA6-8EDE-5CCA847584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C$28:$C$32</c:f>
              <c:strCache>
                <c:ptCount val="5"/>
                <c:pt idx="0">
                  <c:v>A+</c:v>
                </c:pt>
                <c:pt idx="1">
                  <c:v>A </c:v>
                </c:pt>
                <c:pt idx="2">
                  <c:v>B</c:v>
                </c:pt>
                <c:pt idx="3">
                  <c:v>C</c:v>
                </c:pt>
                <c:pt idx="4">
                  <c:v>D</c:v>
                </c:pt>
              </c:strCache>
            </c:strRef>
          </c:cat>
          <c:val>
            <c:numRef>
              <c:f>Hoja2!$D$28:$D$32</c:f>
              <c:numCache>
                <c:formatCode>General</c:formatCode>
                <c:ptCount val="5"/>
                <c:pt idx="0">
                  <c:v>10</c:v>
                </c:pt>
                <c:pt idx="1">
                  <c:v>60</c:v>
                </c:pt>
                <c:pt idx="2">
                  <c:v>253</c:v>
                </c:pt>
                <c:pt idx="3">
                  <c:v>64</c:v>
                </c:pt>
                <c:pt idx="4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7C-4CA6-8EDE-5CCA84758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5890879"/>
        <c:axId val="1315878815"/>
      </c:areaChart>
      <c:catAx>
        <c:axId val="131589087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1315878815"/>
        <c:crosses val="autoZero"/>
        <c:auto val="1"/>
        <c:lblAlgn val="ctr"/>
        <c:lblOffset val="100"/>
        <c:noMultiLvlLbl val="0"/>
      </c:catAx>
      <c:valAx>
        <c:axId val="1315878815"/>
        <c:scaling>
          <c:orientation val="minMax"/>
          <c:max val="280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315890879"/>
        <c:crosses val="autoZero"/>
        <c:crossBetween val="midCat"/>
        <c:majorUnit val="40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AF8FEC-641F-40D2-812E-283ECC9DE231}" type="datetimeFigureOut">
              <a:rPr lang="es-CO" smtClean="0"/>
              <a:t>3/04/24</a:t>
            </a:fld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832EC5-33A2-40C6-941A-33D92275A2B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852143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74380A98-17BF-B340-83ED-0C9EB3943AC4}" type="datetimeFigureOut">
              <a:rPr lang="es-CO" smtClean="0"/>
              <a:t>3/04/24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22EED4D-33B3-BE45-BD6F-C5002AF65056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223925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EED4D-33B3-BE45-BD6F-C5002AF65056}" type="slidenum">
              <a:rPr lang="es-CO" smtClean="0"/>
              <a:t>1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68668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EED4D-33B3-BE45-BD6F-C5002AF65056}" type="slidenum">
              <a:rPr lang="es-CO" smtClean="0"/>
              <a:t>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469326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EED4D-33B3-BE45-BD6F-C5002AF65056}" type="slidenum">
              <a:rPr lang="es-CO" smtClean="0"/>
              <a:t>5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717838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E93B28-B19E-4608-A5DA-024A5C513D5A}" type="slidenum">
              <a:rPr lang="es-CO" smtClean="0"/>
              <a:t>6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133160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2EED4D-33B3-BE45-BD6F-C5002AF65056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4797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5" Type="http://schemas.openxmlformats.org/officeDocument/2006/relationships/image" Target="../media/image1.emf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1.emf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oleObject" Target="../embeddings/oleObject4.bin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64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2" Type="http://schemas.openxmlformats.org/officeDocument/2006/relationships/tags" Target="../tags/tag71.xml"/><Relationship Id="rId16" Type="http://schemas.openxmlformats.org/officeDocument/2006/relationships/image" Target="../media/image1.emf"/><Relationship Id="rId1" Type="http://schemas.openxmlformats.org/officeDocument/2006/relationships/tags" Target="../tags/tag70.x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2" Type="http://schemas.openxmlformats.org/officeDocument/2006/relationships/tags" Target="../tags/tag84.xml"/><Relationship Id="rId16" Type="http://schemas.openxmlformats.org/officeDocument/2006/relationships/image" Target="../media/image2.emf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5" Type="http://schemas.openxmlformats.org/officeDocument/2006/relationships/image" Target="../media/image1.emf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image" Target="../media/image1.emf"/><Relationship Id="rId2" Type="http://schemas.openxmlformats.org/officeDocument/2006/relationships/tags" Target="../tags/tag120.xml"/><Relationship Id="rId16" Type="http://schemas.openxmlformats.org/officeDocument/2006/relationships/oleObject" Target="../embeddings/oleObject9.bin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748618E9-EE2D-4864-9EEE-58939BD4F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17D1EC0-23FF-4FC8-B22D-E34878EAA4CC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AB929A7-258C-4469-AAB4-A67D713F7A8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A635CDB-2D00-49D5-B26E-0694A25000C7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4288D7A-F857-418D-92F2-368E841B9F27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1084F50-7F3C-4A4A-877E-FFD9EC7CD88B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31E64C1-F4C0-4A94-B319-BB1A0A2450B5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63D8374-8052-417F-AB69-B97EAC43D513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7750734-4D51-4019-A003-38A3DE49B434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1B693D1-DBA2-4D3B-9B37-D9EE8C4112F4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1BCD3EA8-E4C0-4AF6-817F-F9F29157A499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170FB3-B397-4AC9-85FD-65388F26D90A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E5EC0B9-49C7-4777-AEC5-B5EF8DE40498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902048B-30F7-4434-87A5-140F9BB4BEB1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500A6E2-A41C-4751-8A4E-9A0C5718D930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FC259517-7BE7-45F9-81C0-3A6362BF143C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0652F56-7B71-42B2-AB68-22204A6DF177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059830E-1C3D-4D42-8789-524971CB465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53325A7-86D3-4B52-A7E3-ADDF408B406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6D53F46F-EC12-484C-A4E7-791E57687AC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64ED9CA-8950-47B8-A9ED-22B45CE15FB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4429F7B-9FD7-438F-8ECA-3FCAD006180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C558100-D455-4B41-890C-BCC898B2D16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2886397-398A-4318-BE16-2CBAC1902F9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D32A3A6-CE6E-4ABD-8522-2C8DC88C070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F9014C09-5B84-4798-8BDE-C80D76E67B8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A29EB9E-ED9D-4C69-8A26-9A7A0A83056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A2899F9-1795-416F-8F3D-26EEB684DB6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3043474-8625-495C-BD06-3627FD286C5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432CE47-7631-408E-8DDC-79EE378B707B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2C8832D-8B8D-4036-B913-2D363143274B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CCEFEAF-E87B-4FF2-A947-94CABAA0610D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43A7CD3-94E1-42A9-BAB7-2AFCD9FCBD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1079" y="722903"/>
            <a:ext cx="10495904" cy="2460770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67609B-8FD3-4FF7-8EBC-6619CA868B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1079" y="3428999"/>
            <a:ext cx="10495904" cy="230663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2437C4A8-8E3A-4ADA-93B9-64737CE1AB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2607909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7A76F-3401-4F50-AE85-8F2AA247B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02E50-D34E-4DD4-8B3B-55D08F25F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1079" y="236364"/>
            <a:ext cx="4114800" cy="41712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53B71-D2FA-4DDC-9C9C-E26F7B591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504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BD70F-ACE4-4595-845E-2296BDF83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978CD9-E0B5-4B48-8366-91E6D22C9F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AF4B4-44D3-4E29-B235-A1B868207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D7BA37-9639-480E-84AB-EA277225C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BFC658-154E-48DE-AD31-813E5170C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711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5405209-5179-4359-91ED-1B1A46619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E32344F-3BE0-4CE8-B1BD-9ABD425E1C0D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99DE306-F4FB-4730-A066-ADF38D73956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CB32885-303F-477F-A081-27425944F230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60C0C0B-4CD0-467D-A382-2B2415102C48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788DF0F-327F-43A5-AB71-3D32053D83CA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98A0902-2662-4911-A532-AA6310861479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ABDA4F7-23F4-46D1-8B7E-A21DD84083E1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7FC9FC2-8808-438E-8FFB-5FE416BFB5C8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04694E5-71F9-4210-9BE8-FC12CC177BD3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B37E805-A7E5-4906-B0C5-1373F3DA9628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4CD964-FBD6-41AB-8A02-9509A2BAC11F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9CD7FF8-E827-4E0A-BCE2-CCB34EDAC0FC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C4AD6BB-F1EE-4FB8-96E8-6890447800EC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E935057-E0A3-4DAE-B9C8-6E818D7A7205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08DDF69-1C14-453C-BC3A-37D3FE69DFC7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6C26D82-15BA-4B2E-A42D-2ECA8012D307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7F73B67-E5E9-4000-91DA-034B2127EFD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AFAC1B5-F0DD-4FC0-B4C9-77CB29DF442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9ACB3DB-54B2-4CEE-A791-C6FC6C758DA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324004-1030-47D9-B817-425FF6ECCE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AA001C4-81AB-4FA6-ADAA-C8618056353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D1DAD34-7844-4F16-9874-F51F2A23B9E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7DCBC6D-1BDA-4CB1-A3EC-59F240C8FA1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5B3C1A0-58E7-47E4-831B-CF3EE21D1E9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8A09FAA-E123-4FE4-B67A-9EBDE1A3130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317B7C6-C816-4A58-B184-135E4FD19F5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4D22ABB-4CE8-47DC-80BF-39B3E4CF704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A17DE37-A292-4031-AF42-CDB00A13EE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73EF673-CB75-435F-9BF3-7594EC3ADF8F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D35F4581-15F6-47EE-87D0-1132A093DBA5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565CF984-F5BD-45C4-9A12-B02DB4F044E1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ACE66A86-8455-497B-9CA4-F460A19E5F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7770392" y="-287370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68C62B-71EF-4824-9EE8-6CAE179842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707775" y="715618"/>
            <a:ext cx="3295876" cy="502659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43E4C8-4AA9-49D7-BF71-1AB5F2CFE1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3588" y="715618"/>
            <a:ext cx="6770448" cy="50265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7898B3-014E-440B-BA4E-106339212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C22643-CE63-4C3E-B437-5A1A5EF91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1CE5E-160A-4B37-94E2-3D9DC75BF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205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004763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05558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2108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2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695272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316833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30068"/>
            <a:ext cx="9180576" cy="54938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2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432153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71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441621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971800" y="0"/>
            <a:ext cx="9329531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69D2247-0065-49AB-ACAD-79B99D7CD6F1}"/>
              </a:ext>
            </a:extLst>
          </p:cNvPr>
          <p:cNvGrpSpPr/>
          <p:nvPr userDrawn="1"/>
        </p:nvGrpSpPr>
        <p:grpSpPr>
          <a:xfrm>
            <a:off x="347869" y="1181906"/>
            <a:ext cx="11539331" cy="5271863"/>
            <a:chOff x="4671219" y="1181906"/>
            <a:chExt cx="6967728" cy="5271863"/>
          </a:xfrm>
        </p:grpSpPr>
        <p:cxnSp>
          <p:nvCxnSpPr>
            <p:cNvPr id="14" name="BottomLineRight">
              <a:extLst>
                <a:ext uri="{FF2B5EF4-FFF2-40B4-BE49-F238E27FC236}">
                  <a16:creationId xmlns:a16="http://schemas.microsoft.com/office/drawing/2014/main" id="{C2A81BD2-BB6D-46F4-A26E-5D243E24DDD3}"/>
                </a:ext>
              </a:extLst>
            </p:cNvPr>
            <p:cNvCxnSpPr/>
            <p:nvPr userDrawn="1">
              <p:custDataLst>
                <p:tags r:id="rId9"/>
              </p:custDataLst>
            </p:nvPr>
          </p:nvCxnSpPr>
          <p:spPr>
            <a:xfrm>
              <a:off x="4671219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TopLineRight">
              <a:extLst>
                <a:ext uri="{FF2B5EF4-FFF2-40B4-BE49-F238E27FC236}">
                  <a16:creationId xmlns:a16="http://schemas.microsoft.com/office/drawing/2014/main" id="{AD6B0CAC-AB2A-44BD-A5F1-181F096A1CA7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4671219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1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3659646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31209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87059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77730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0D8D6B-70A2-430A-9F5D-DA093D8C1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4A2845-6CA6-4745-A951-25B8D5319D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049424-7A20-4BA1-9F60-671A5DBB3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BD2B2-E17F-402E-8EA3-5C7C1118A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D23070-8658-4AC0-B2A3-4BE605A84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941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47977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72" imgH="588" progId="TCLayout.ActiveDocument.1">
                  <p:embed/>
                </p:oleObj>
              </mc:Choice>
              <mc:Fallback>
                <p:oleObj name="think-cell Slide" r:id="rId15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7" y="6501671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8174736" y="89321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9148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7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9116568" y="89321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480950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863772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436588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52382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6" y="6499383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2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79155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A69DB7AC-F7D7-430A-A2A7-CD3EBBF1D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6AAF10E-F092-4160-BF4A-FF568555B790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36341C04-9B94-4385-A661-7B8C1700049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4C1D709-6A0F-409C-B2D0-C248E562265E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999BE53-BA11-4B67-BFBB-6281DB50C75D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B662D93-31C1-4DFB-A938-E631F89AA9F0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7ECC8DA-0BEC-4508-89D4-12FA35B481F5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7DC8E6C-1B78-4B89-82DD-BBA778CD1482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8E5F54A-0315-4B15-B865-1F0460526260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DD7F352-DE39-4835-8D3F-69CDEC490F1E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9D6F20A-F777-4F41-B23B-735A64FA5DA3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21BBADBA-0F74-418B-BC50-AD44596C3EF8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918BE26-88E5-457C-8095-745F34D15366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FB269E0-E058-4340-B93D-7D40FFF521F3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DDD9AEE-5501-4385-B339-4616F567B53D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4D29C61-8926-4C98-882B-AB90108C8386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CAC585F9-B633-4F7E-AADE-75079DC17158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5DC6366-5525-4FBC-9886-D4409F6B299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CC03CF9-098C-4140-806A-023D3DC3F2E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9C41BC4-89DF-4EC4-A141-9EF16D8EEB5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32AD067-E64C-499E-9C0A-A7252587441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653DD54-FA2B-4B91-A94E-3C46AE21B38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586AC204-156B-442E-B028-01036BD1F26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03512DE-F013-431A-9F6E-ADDA88FB2DD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E95FEE1-61A9-4065-B9F8-5589180AC62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028AA59-C1FA-46C0-BFDD-1C1D3404C81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A5C99EE-B791-470A-8639-0357A751EB4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54F4204-F48B-4AF5-B11E-0CE7D972AC3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76643FE-3966-4B82-9623-C61A56EDD20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DD769C5-B1B1-45BD-A40A-67E6568C8434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A511707-50C7-48B2-81F7-5C82BF57795C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838D44F3-CCFE-48A0-8414-FFF5E43D9184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D126FE0-8204-40BB-AD46-4A0C7A475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9" y="718117"/>
            <a:ext cx="10312571" cy="278150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25E350-4200-419C-A167-527DD6B77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079" y="3753350"/>
            <a:ext cx="10312571" cy="1991572"/>
          </a:xfrm>
        </p:spPr>
        <p:txBody>
          <a:bodyPr/>
          <a:lstStyle>
            <a:lvl1pPr marL="0" indent="0">
              <a:buNone/>
              <a:defRPr lang="en-US" sz="24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6741F519-22CF-4C01-B140-5480DBAB30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2607909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5D1550-9064-4767-B70A-3501AF956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1E1C33-2E8E-4041-9683-12048CB8A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D36992-B921-4F3F-9C4A-0D67E618D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185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ACFDF5-4B31-4F1B-83BA-82A951037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9" y="722903"/>
            <a:ext cx="10312571" cy="13548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EC9A6-F718-4497-8A75-637EE17458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1079" y="2345843"/>
            <a:ext cx="5009584" cy="32743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503E57-9695-4508-9778-B3DB1FB5FA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35075" y="2345843"/>
            <a:ext cx="5068575" cy="32743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74CEE6-B9DC-4CCC-8F4C-0B4DADFB0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C85191-5804-47C9-95EB-D49D715737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6B0A03-44F6-4299-B45D-E07A02390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333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920E6-CC97-4BD8-92FE-8F36024D0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8" y="722902"/>
            <a:ext cx="10320063" cy="14075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3872FB-EDD5-42FB-8A9A-279EAD4FB0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079" y="2331481"/>
            <a:ext cx="4963444" cy="540072"/>
          </a:xfrm>
        </p:spPr>
        <p:txBody>
          <a:bodyPr anchor="b"/>
          <a:lstStyle>
            <a:lvl1pPr marL="0" indent="0">
              <a:buNone/>
              <a:defRPr sz="2400" b="0" i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5F28C1-95C8-476A-8D93-D580DD39D8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1079" y="2954566"/>
            <a:ext cx="4963444" cy="2790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315485-EE1A-41B0-873A-BA9D06E88B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03351" y="2331481"/>
            <a:ext cx="4900299" cy="540072"/>
          </a:xfrm>
        </p:spPr>
        <p:txBody>
          <a:bodyPr anchor="b"/>
          <a:lstStyle>
            <a:lvl1pPr marL="0" indent="0">
              <a:buNone/>
              <a:defRPr sz="2400" b="0" i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81A6FB-1583-4A1B-A4A7-C65062C57B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03351" y="2954566"/>
            <a:ext cx="4900299" cy="2790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3A29EA7-E61E-4617-9DA9-40B9299B32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3588" y="6215870"/>
            <a:ext cx="3843779" cy="417126"/>
          </a:xfrm>
        </p:spPr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6249CC-EB72-46A6-87D9-5FBDA8E45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1079" y="236364"/>
            <a:ext cx="4114800" cy="41712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A04EE7-47BE-4ECE-A170-793C4E5695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7380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E4946-24AD-40DD-95A7-49BA49C22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80" y="722905"/>
            <a:ext cx="10501177" cy="140123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8CF342-49F6-482D-943E-7E50B1694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4033E5-3797-4FF8-866F-9FD9325A9F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1079" y="236364"/>
            <a:ext cx="4114800" cy="417126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C1E67-424D-4638-98F8-38E71A41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434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5BED274-5EB4-4EF4-B353-E55BD50265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0418BE5-560E-4E49-B12D-B555511FED72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49D1162-73B9-420F-BCBE-95039D00CD24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2BA76FE-316A-48E2-A03B-4E05691C4348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E678FBC-A6AD-4422-BA24-A4172F8862CA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D3C5C3E-2D08-43F0-AFAC-E15360CA7D34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0BEAC62-AF92-4A65-9790-6F6E0C6C5A1F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C77D7C5-E76E-4E82-BFC4-9A75D2C8089D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66E0152-96B9-4067-80D3-D9BDE6D7EC95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918AFCC-B9DA-4092-8FBA-2CFEDB0388E3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1EC7D33-C87E-4812-A722-53C5D99272B5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5F239E3-501A-4C3C-9BE4-6BFA0D3126B7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62BF3B-95BB-4188-AAE5-015A0EF3D186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4E5F0F-0124-40D0-A0BF-AE307A0E15F4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BADC3B1-26C7-4CF1-B29D-4D0DEA3E2633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0A7DF6E-1132-4A80-9B18-593B1ACD7784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EF19589-10D8-4A8F-A0B1-F7CE380E3001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8E6BB32-C4F8-4914-88D3-7DC5E79D023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F046EE-9DBA-4924-A19C-ED8741F5F81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AABBC44-ABA8-4913-824E-64D344724644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4272B22-1C39-47A0-8551-73666AFBEE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08CDFF66-464C-4ABF-BB01-00500A3B751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3079FC88-BD3B-4C04-9B90-0FC93C17921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1FCAED8-8687-4141-A7C3-0D88ACEDFEC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65038E6-7B32-460F-B804-D6C105FF44C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C5DAE85-AD17-454B-AB64-CEFF52FDAB9D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C603643-2066-4967-AE4B-9DA143843B2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37E9533-9B07-43E3-B939-7BADC01FEE8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DCCAAEE-AB2E-4534-893A-3DB109499FB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8BD39A2-970F-4714-AAA6-67EE99A0EAA9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F4A1387-348B-4E46-9B65-FDF76ED0EF20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F5DAF27-A54D-442A-93E4-BA7F04EAE379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EA265F-80A1-448D-A6EB-CE8D6F6EC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15D00D-89E6-4E7A-9A4D-A8CCEB3BE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2B5AEA-8C38-4776-878C-AB01474D9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708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C4853C57-22BC-4465-8B37-DC06FE5A00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1" y="3144859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67C0A6-48E9-4845-9EBF-EF2A3DFD2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87" y="713679"/>
            <a:ext cx="4499915" cy="2996581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A8B542-2084-485C-ABFC-94340B4C7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8673" y="708102"/>
            <a:ext cx="5656716" cy="543064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47791F-9546-470D-A174-D75285263C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3587" y="3976546"/>
            <a:ext cx="4499915" cy="2162201"/>
          </a:xfrm>
        </p:spPr>
        <p:txBody>
          <a:bodyPr>
            <a:normAutofit/>
          </a:bodyPr>
          <a:lstStyle>
            <a:lvl1pPr marL="0" indent="0">
              <a:buNone/>
              <a:defRPr lang="en-US" sz="2400" b="0" i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marL="0" lvl="0" indent="0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550D594-9D00-4E12-9A7B-8B78EC199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5DEA230-2680-47DD-BD49-FDBF4C1105A5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0BA61D-887F-46F1-B20D-EA4C38D467C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350DFBA-D16D-4AE0-8339-58C4089B94AD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F4AAAA5-CEFC-4C25-91D3-5AE49F720DA5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4D142AD-3FA3-43E4-8A61-61CF1E415684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C3755A3-93F4-4EC4-9635-7E89E4AF1D3F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0BFB588-0AB8-4BD8-9272-1CA867726018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45A6DF3-CF29-4480-A235-EAE88D65A63C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D6FF036-365A-4C15-8E15-0D5BBEBCEA58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5E76FF-4E86-4E42-B67E-B11AAE8D3076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1A64CEE-7CED-4EB2-A414-6F2D91E824F9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12C571B-47A6-49EB-A29F-678368BAED9F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160B109-845C-4119-BB66-9887B3859A7D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68B7447-FF64-42D9-B3C6-2BDC6F547EDE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FFF9B71-8653-450D-AFBE-2140D586FB50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F0B9E5A-C1DA-445C-A911-721DF98DDCDD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5C9A3DC-A478-4469-9359-34A435689F3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7DE3299-EED7-4771-A270-F6B02941AD6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434422A-5B59-41DC-8E2A-1A8244580E3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A176117-0990-434B-A9D9-B4B9043C544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7D6425E-C84A-462F-98F8-D0AB4FC3AF8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AF13AB68-7321-4AC2-AC60-0F417877D07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FE275CCE-D06F-49D0-8A47-372C5040330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D4B374E-EEBC-4A9C-B3B4-B269EC71985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D80A7E6-BBEF-4EF1-B14A-29F26BFCF8E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D7BC013-9B50-459D-8B8D-F756514A478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48964C0-675D-4807-B795-4B695A8F842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6911512-51A8-4CE7-A043-425C809EB5F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3C15D1E-0EDF-4AD7-90C7-3D8D64E645DB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8265A2D-2A6A-4301-B59F-8BAD98D9A57B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4A4907F-2D1D-49D1-882D-119AA5E1183B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6A2284-37AB-43F5-98B8-8AB49DBFA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D8ABAA-E2F7-4C89-99ED-2C340220D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52EF12-B2CD-4F3C-9F19-A86915405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0111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0DDA6865-0A03-48FA-AD6E-D5BF8FDE92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277E8EB-0DA2-40E4-AD12-1CCD0D262D0B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5BFE9F8-907A-4FFC-9FDE-2B51D238C40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BDDC323-8732-4007-BB81-1BE917E3B2FF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908FC40-8403-438D-95CA-E4EDC66192A9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411D218-3FEA-4455-9809-91F029FB55AE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A541390F-BE50-4E4E-9DA2-B5F23F1A93D8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EB3F094-97B5-48E1-A4DE-8BEED2550283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D4DBB43-CB34-4881-9445-A7FE131D5327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B71F972-027A-47F0-996C-84BFE4574050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C41353D-93C8-43F8-BBDE-7AB6B29EC38C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CF07B24-CBD8-4F09-81EB-504285F8E115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27873BB-1D79-4055-801C-BDA0F9A15136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8008D42B-2F35-497E-A26D-9AF008619D43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7F57499-C4D9-4B7D-BADA-38462AA3164E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271F2B9-1FFA-4350-9370-B098459A2324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38FBAFFC-DC8F-4BB4-B405-E4AAA269AED4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94FCE64-D7A5-411A-8795-932DD39F952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0B4ECFC-FD43-44CF-B7FA-2A8C5651400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99DFBC12-1E1D-44DE-9966-BAB05B24663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9BEF096-361C-478B-81EB-37584119BFE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FC81993-CE86-4910-B9CE-B69375BDCEE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75613D7-9FB0-4D33-8784-EC059DE019C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520AFD9-E849-4F42-99B2-928E6098C29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A200B0B-91CD-4D66-ADFC-9585D283103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B5DB0C45-30CE-4C85-95C6-FFF4977C646A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DC31604-5F93-436D-A9D2-A48846D4E0D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FF1B965-7DE1-4AE3-B28B-DB6847BC52C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EFD9FB65-4392-4D6A-8ACC-8151F682BFE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B40380C-3493-4AFE-BF13-AE68A8D244B4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CB21DF1-4859-4991-9C10-F8FA68F41013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354AD212-17DC-4506-AAA0-34A46A0B11C3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B556E7-762B-4E18-A961-A4F7A9ECF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89" y="713679"/>
            <a:ext cx="4434823" cy="3020519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B7118AF-C54D-406D-AABE-AED6576D128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98673" y="713679"/>
            <a:ext cx="5304977" cy="543064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205CDEB9-8DED-4711-8140-4C943FC2CD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3143306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E13C3F-6360-4760-9477-C3831A6E2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3589" y="3970330"/>
            <a:ext cx="4434823" cy="2173992"/>
          </a:xfrm>
        </p:spPr>
        <p:txBody>
          <a:bodyPr/>
          <a:lstStyle>
            <a:lvl1pPr marL="0" indent="0">
              <a:buNone/>
              <a:defRPr lang="en-US" sz="2400" b="0" i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192D3B-60EE-4FC5-9ED7-4445300844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BA41-EC5B-4197-BCC8-0FD2E523CD7A}" type="datetimeFigureOut">
              <a:rPr lang="en-US" smtClean="0"/>
              <a:t>4/3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F831E-9B19-4936-8BC9-F62A9B118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71E1D1-F7A2-40D0-91DA-07468A965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5108C-154A-4A5A-9C05-91A49A422BA7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121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BDF0D99C-5D42-41C6-A50C-C4E2D6B2A3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6214" y="-1"/>
            <a:ext cx="12214827" cy="6858000"/>
            <a:chOff x="-6214" y="-1"/>
            <a:chExt cx="12214827" cy="685800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F28962D-50BA-43F8-8863-28ECE711D3FC}"/>
                </a:ext>
              </a:extLst>
            </p:cNvPr>
            <p:cNvCxnSpPr>
              <a:cxnSpLocks/>
            </p:cNvCxnSpPr>
            <p:nvPr/>
          </p:nvCxnSpPr>
          <p:spPr>
            <a:xfrm>
              <a:off x="-6214" y="66862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80F5939-D4E0-46FD-9A5A-5D648E38109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8633D331-78CB-40A1-B167-8185EC5D707B}"/>
                </a:ext>
              </a:extLst>
            </p:cNvPr>
            <p:cNvCxnSpPr>
              <a:cxnSpLocks/>
            </p:cNvCxnSpPr>
            <p:nvPr/>
          </p:nvCxnSpPr>
          <p:spPr>
            <a:xfrm>
              <a:off x="1199325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C512E4B1-E78E-49E7-AA36-374CC1B084E4}"/>
                </a:ext>
              </a:extLst>
            </p:cNvPr>
            <p:cNvCxnSpPr>
              <a:cxnSpLocks/>
            </p:cNvCxnSpPr>
            <p:nvPr/>
          </p:nvCxnSpPr>
          <p:spPr>
            <a:xfrm>
              <a:off x="19252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7D46340-CBFC-490F-B44E-7AA8FBF58B05}"/>
                </a:ext>
              </a:extLst>
            </p:cNvPr>
            <p:cNvCxnSpPr>
              <a:cxnSpLocks/>
            </p:cNvCxnSpPr>
            <p:nvPr/>
          </p:nvCxnSpPr>
          <p:spPr>
            <a:xfrm>
              <a:off x="117592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3575C26C-3EBD-4AA9-BA4D-2561E295D65D}"/>
                </a:ext>
              </a:extLst>
            </p:cNvPr>
            <p:cNvCxnSpPr>
              <a:cxnSpLocks/>
            </p:cNvCxnSpPr>
            <p:nvPr/>
          </p:nvCxnSpPr>
          <p:spPr>
            <a:xfrm>
              <a:off x="215931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235DB6BE-E065-4559-BF5C-36B56B379040}"/>
                </a:ext>
              </a:extLst>
            </p:cNvPr>
            <p:cNvCxnSpPr>
              <a:cxnSpLocks/>
            </p:cNvCxnSpPr>
            <p:nvPr/>
          </p:nvCxnSpPr>
          <p:spPr>
            <a:xfrm>
              <a:off x="314271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DA54272-CD9D-4F68-BBAB-4F0C0C3EC635}"/>
                </a:ext>
              </a:extLst>
            </p:cNvPr>
            <p:cNvCxnSpPr>
              <a:cxnSpLocks/>
            </p:cNvCxnSpPr>
            <p:nvPr/>
          </p:nvCxnSpPr>
          <p:spPr>
            <a:xfrm>
              <a:off x="412610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002CE8F-9256-4F2C-B474-58873717119E}"/>
                </a:ext>
              </a:extLst>
            </p:cNvPr>
            <p:cNvCxnSpPr>
              <a:cxnSpLocks/>
            </p:cNvCxnSpPr>
            <p:nvPr/>
          </p:nvCxnSpPr>
          <p:spPr>
            <a:xfrm>
              <a:off x="510949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59C9DE9F-4252-401D-913E-B74C9E326F98}"/>
                </a:ext>
              </a:extLst>
            </p:cNvPr>
            <p:cNvCxnSpPr>
              <a:cxnSpLocks/>
            </p:cNvCxnSpPr>
            <p:nvPr/>
          </p:nvCxnSpPr>
          <p:spPr>
            <a:xfrm>
              <a:off x="609289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8FE4E69B-534F-4A80-9E1C-798BEE1B0795}"/>
                </a:ext>
              </a:extLst>
            </p:cNvPr>
            <p:cNvCxnSpPr>
              <a:cxnSpLocks/>
            </p:cNvCxnSpPr>
            <p:nvPr/>
          </p:nvCxnSpPr>
          <p:spPr>
            <a:xfrm>
              <a:off x="70762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7564E1C-009C-4832-AE8D-E98286693F0C}"/>
                </a:ext>
              </a:extLst>
            </p:cNvPr>
            <p:cNvCxnSpPr>
              <a:cxnSpLocks/>
            </p:cNvCxnSpPr>
            <p:nvPr/>
          </p:nvCxnSpPr>
          <p:spPr>
            <a:xfrm>
              <a:off x="8059680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4305DF1C-5801-43F2-A8B9-5351369418C0}"/>
                </a:ext>
              </a:extLst>
            </p:cNvPr>
            <p:cNvCxnSpPr>
              <a:cxnSpLocks/>
            </p:cNvCxnSpPr>
            <p:nvPr/>
          </p:nvCxnSpPr>
          <p:spPr>
            <a:xfrm>
              <a:off x="9043074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806E71C8-0783-4E17-9B34-F51231DD2954}"/>
                </a:ext>
              </a:extLst>
            </p:cNvPr>
            <p:cNvCxnSpPr>
              <a:cxnSpLocks/>
            </p:cNvCxnSpPr>
            <p:nvPr/>
          </p:nvCxnSpPr>
          <p:spPr>
            <a:xfrm>
              <a:off x="10026468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FD908F17-2A89-4B0A-A2EA-692390969FE0}"/>
                </a:ext>
              </a:extLst>
            </p:cNvPr>
            <p:cNvCxnSpPr>
              <a:cxnSpLocks/>
            </p:cNvCxnSpPr>
            <p:nvPr/>
          </p:nvCxnSpPr>
          <p:spPr>
            <a:xfrm>
              <a:off x="11009862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FBE22751-380F-44F9-BEED-0A553CF87BE5}"/>
                </a:ext>
              </a:extLst>
            </p:cNvPr>
            <p:cNvCxnSpPr>
              <a:cxnSpLocks/>
            </p:cNvCxnSpPr>
            <p:nvPr/>
          </p:nvCxnSpPr>
          <p:spPr>
            <a:xfrm>
              <a:off x="12185786" y="-1"/>
              <a:ext cx="0" cy="685800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7B27910-846F-4E4E-B588-F5B2E026FE9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7171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E0501E-134E-46D7-984F-3A382B0BB29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71459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0A83974-CBD7-4A69-9D84-2D3BBDE027A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57478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503E931-00D4-4B0C-BC69-49FE5C766518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0035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7732A30-BE2F-4D71-BC37-60F7B44591B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343240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0C8EB840-DE7D-4E67-989C-F4D8F50E15BD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2886121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05D2CC2-53CC-487E-A72E-42B1E9B18460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29002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03A12D6B-1D60-4F26-8FB9-74AD5B070BD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971883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41895D00-2D63-443C-95A8-5EB6E5EECBF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514764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6AC50652-2A56-4382-95D0-971644EE0FA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057645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DA50A374-8880-482D-B54F-F74E0D7BE18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600526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66364D8-CCC7-4AAF-94BC-766EC160D99E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857999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4A0DC409-26E2-4453-89FD-745EA849BE7F}"/>
                </a:ext>
              </a:extLst>
            </p:cNvPr>
            <p:cNvCxnSpPr>
              <a:cxnSpLocks/>
            </p:cNvCxnSpPr>
            <p:nvPr/>
          </p:nvCxnSpPr>
          <p:spPr>
            <a:xfrm>
              <a:off x="16613" y="6143407"/>
              <a:ext cx="12192000" cy="0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39ED039-D66C-4A5E-AA35-E7A5FA2E64C2}"/>
                </a:ext>
              </a:extLst>
            </p:cNvPr>
            <p:cNvCxnSpPr>
              <a:cxnSpLocks/>
            </p:cNvCxnSpPr>
            <p:nvPr/>
          </p:nvCxnSpPr>
          <p:spPr>
            <a:xfrm>
              <a:off x="684225" y="171716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72C13DC-161E-49CF-96B5-5383AA052AB7}"/>
                </a:ext>
              </a:extLst>
            </p:cNvPr>
            <p:cNvCxnSpPr>
              <a:cxnSpLocks/>
            </p:cNvCxnSpPr>
            <p:nvPr/>
          </p:nvCxnSpPr>
          <p:spPr>
            <a:xfrm>
              <a:off x="11508412" y="173267"/>
              <a:ext cx="0" cy="6511464"/>
            </a:xfrm>
            <a:prstGeom prst="line">
              <a:avLst/>
            </a:prstGeom>
            <a:ln w="12700">
              <a:solidFill>
                <a:srgbClr val="BCBCBC">
                  <a:alpha val="29804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103067-48DA-458C-99F6-9921C19A8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079" y="725953"/>
            <a:ext cx="10325000" cy="14424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B86862-507E-4F73-890F-3B77BCFA3F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1079" y="2340131"/>
            <a:ext cx="10325000" cy="35644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FBC0BB-AF05-4753-9159-41A16FBFC3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3588" y="6215870"/>
            <a:ext cx="3843779" cy="417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2BA41-EC5B-4197-BCC8-0FD2E523CD7A}" type="datetimeFigureOut">
              <a:rPr lang="en-US" smtClean="0"/>
              <a:pPr/>
              <a:t>4/3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362F82-EA1A-4B02-8A64-3B44C0D9DA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1079" y="236364"/>
            <a:ext cx="4114800" cy="417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C5EF32-1CA9-4CDA-8182-2FB0C30A0F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03650" y="6215870"/>
            <a:ext cx="979151" cy="417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15108C-154A-4A5A-9C05-91A49A422BA7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63BAC6E0-ADAC-40FB-AF53-88FA5F837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3500000">
            <a:off x="-281093" y="1516216"/>
            <a:ext cx="568289" cy="568289"/>
          </a:xfrm>
          <a:prstGeom prst="rt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430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8" r:id="rId6"/>
    <p:sldLayoutId id="2147483693" r:id="rId7"/>
    <p:sldLayoutId id="2147483694" r:id="rId8"/>
    <p:sldLayoutId id="2147483695" r:id="rId9"/>
    <p:sldLayoutId id="2147483697" r:id="rId10"/>
    <p:sldLayoutId id="2147483696" r:id="rId11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10000"/>
        </a:lnSpc>
        <a:spcBef>
          <a:spcPts val="10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57189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685783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14377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2971" indent="-228594" algn="l" defTabSz="914377" rtl="0" eaLnBrk="1" latinLnBrk="0" hangingPunct="1">
        <a:lnSpc>
          <a:spcPct val="110000"/>
        </a:lnSpc>
        <a:spcBef>
          <a:spcPts val="500"/>
        </a:spcBef>
        <a:buClr>
          <a:schemeClr val="tx2">
            <a:lumMod val="50000"/>
            <a:lumOff val="50000"/>
          </a:schemeClr>
        </a:buClr>
        <a:buSzPct val="75000"/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7389847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6" y="6499383"/>
            <a:ext cx="1134926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903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7" y="4322825"/>
            <a:ext cx="984867" cy="1717282"/>
            <a:chOff x="9585951" y="2980104"/>
            <a:chExt cx="984866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8" y="2980104"/>
              <a:ext cx="65871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0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2"/>
              <a:ext cx="65311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9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2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201" y="1289274"/>
            <a:ext cx="430503" cy="156966"/>
            <a:chOff x="8456447" y="272180"/>
            <a:chExt cx="322861" cy="156935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861" cy="1569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30">
                <a:buClr>
                  <a:schemeClr val="tx2"/>
                </a:buClr>
              </a:pPr>
              <a:r>
                <a:rPr lang="en-US" sz="900" b="1" spc="51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15"/>
              <a:ext cx="322861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30" y="3301676"/>
            <a:ext cx="1269335" cy="958286"/>
            <a:chOff x="4372690" y="3739100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0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5739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5" r:id="rId14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542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26" indent="-287331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32" indent="-182558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377" indent="-136522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7329" userDrawn="1">
          <p15:clr>
            <a:srgbClr val="F26B43"/>
          </p15:clr>
        </p15:guide>
        <p15:guide id="6" pos="345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o 45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47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8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9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50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51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pic>
        <p:nvPicPr>
          <p:cNvPr id="54" name="Imagen 53">
            <a:extLst>
              <a:ext uri="{FF2B5EF4-FFF2-40B4-BE49-F238E27FC236}">
                <a16:creationId xmlns:a16="http://schemas.microsoft.com/office/drawing/2014/main" id="{392E47EC-C2E9-9BE0-5983-DF34FDFD001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9" r="44809"/>
          <a:stretch/>
        </p:blipFill>
        <p:spPr>
          <a:xfrm flipH="1">
            <a:off x="7354058" y="-116112"/>
            <a:ext cx="5171770" cy="7287492"/>
          </a:xfrm>
          <a:prstGeom prst="flowChartDelay">
            <a:avLst/>
          </a:prstGeom>
        </p:spPr>
      </p:pic>
      <p:sp>
        <p:nvSpPr>
          <p:cNvPr id="55" name="Google Shape;193;p32">
            <a:extLst>
              <a:ext uri="{FF2B5EF4-FFF2-40B4-BE49-F238E27FC236}">
                <a16:creationId xmlns:a16="http://schemas.microsoft.com/office/drawing/2014/main" id="{E1A83FFD-DDCE-C541-2034-F925902B8E88}"/>
              </a:ext>
            </a:extLst>
          </p:cNvPr>
          <p:cNvSpPr txBox="1">
            <a:spLocks/>
          </p:cNvSpPr>
          <p:nvPr/>
        </p:nvSpPr>
        <p:spPr>
          <a:xfrm>
            <a:off x="340675" y="367549"/>
            <a:ext cx="6983319" cy="1819926"/>
          </a:xfrm>
          <a:prstGeom prst="rect">
            <a:avLst/>
          </a:prstGeom>
          <a:noFill/>
          <a:ln w="158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Font typeface="Arial"/>
              <a:buNone/>
            </a:pPr>
            <a:r>
              <a:rPr lang="es-MX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rograma de 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Font typeface="Arial"/>
              <a:buNone/>
            </a:pPr>
            <a:r>
              <a:rPr lang="es-MX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ejoramiento de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Font typeface="Arial"/>
              <a:buNone/>
            </a:pPr>
            <a:r>
              <a:rPr lang="es-MX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la Calidad Educativ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EF18EA9-C833-1DDD-85FA-90B5269C4980}"/>
              </a:ext>
            </a:extLst>
          </p:cNvPr>
          <p:cNvSpPr txBox="1"/>
          <p:nvPr/>
        </p:nvSpPr>
        <p:spPr>
          <a:xfrm>
            <a:off x="881763" y="3058417"/>
            <a:ext cx="7686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dk1"/>
              </a:buClr>
              <a:buSzPts val="1100"/>
            </a:pPr>
            <a:endParaRPr lang="es-MX" sz="24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dk1"/>
              </a:buClr>
              <a:buSzPts val="1100"/>
            </a:pPr>
            <a:endParaRPr lang="es-MX" sz="24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2E81CD10-9DE0-E047-BD63-45B5682E89AB}"/>
              </a:ext>
            </a:extLst>
          </p:cNvPr>
          <p:cNvGrpSpPr/>
          <p:nvPr/>
        </p:nvGrpSpPr>
        <p:grpSpPr>
          <a:xfrm>
            <a:off x="1292797" y="2919918"/>
            <a:ext cx="4620109" cy="1200329"/>
            <a:chOff x="963704" y="3248477"/>
            <a:chExt cx="4620109" cy="1200329"/>
          </a:xfrm>
        </p:grpSpPr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EE17CF4F-B081-D546-BC64-70CC0DEE2663}"/>
                </a:ext>
              </a:extLst>
            </p:cNvPr>
            <p:cNvSpPr txBox="1"/>
            <p:nvPr/>
          </p:nvSpPr>
          <p:spPr>
            <a:xfrm>
              <a:off x="1062318" y="3248477"/>
              <a:ext cx="4433047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buClr>
                  <a:schemeClr val="dk1"/>
                </a:buClr>
                <a:buSzPts val="1100"/>
                <a:buFont typeface="Arial"/>
                <a:buNone/>
              </a:pPr>
              <a:r>
                <a:rPr lang="es-MX" sz="7200" b="1" dirty="0">
                  <a:solidFill>
                    <a:schemeClr val="accent1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PROMCE</a:t>
              </a: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B5687135-872F-7B45-8D50-61A7449B89F1}"/>
                </a:ext>
              </a:extLst>
            </p:cNvPr>
            <p:cNvSpPr/>
            <p:nvPr/>
          </p:nvSpPr>
          <p:spPr>
            <a:xfrm>
              <a:off x="5332801" y="3649376"/>
              <a:ext cx="251012" cy="246938"/>
            </a:xfrm>
            <a:prstGeom prst="ellipse">
              <a:avLst/>
            </a:prstGeom>
            <a:solidFill>
              <a:srgbClr val="FEC1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5432734A-15E1-8040-A739-5DD2A4127057}"/>
                </a:ext>
              </a:extLst>
            </p:cNvPr>
            <p:cNvSpPr/>
            <p:nvPr/>
          </p:nvSpPr>
          <p:spPr>
            <a:xfrm>
              <a:off x="963704" y="3601703"/>
              <a:ext cx="251012" cy="246938"/>
            </a:xfrm>
            <a:prstGeom prst="ellipse">
              <a:avLst/>
            </a:prstGeom>
            <a:solidFill>
              <a:srgbClr val="FEC1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pic>
        <p:nvPicPr>
          <p:cNvPr id="18" name="Imagen 17">
            <a:extLst>
              <a:ext uri="{FF2B5EF4-FFF2-40B4-BE49-F238E27FC236}">
                <a16:creationId xmlns:a16="http://schemas.microsoft.com/office/drawing/2014/main" id="{BE6783EE-A4E7-7A46-9AB6-92D89356C518}"/>
              </a:ext>
            </a:extLst>
          </p:cNvPr>
          <p:cNvPicPr/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55" y="4679128"/>
            <a:ext cx="5956300" cy="1485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3590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upo 80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82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3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4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5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6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sp>
        <p:nvSpPr>
          <p:cNvPr id="14" name="Título 4"/>
          <p:cNvSpPr txBox="1">
            <a:spLocks/>
          </p:cNvSpPr>
          <p:nvPr/>
        </p:nvSpPr>
        <p:spPr>
          <a:xfrm>
            <a:off x="460359" y="335829"/>
            <a:ext cx="10495904" cy="5095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dirty="0"/>
              <a:t>3.4 Crecimiento significativo del promedio de los municipios focalizados aún con efectos de pandemia PROMCE 2021 -2023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1745229" y="6336209"/>
            <a:ext cx="446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10</a:t>
            </a: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888256"/>
              </p:ext>
            </p:extLst>
          </p:nvPr>
        </p:nvGraphicFramePr>
        <p:xfrm>
          <a:off x="1181456" y="874372"/>
          <a:ext cx="7164002" cy="5881625"/>
        </p:xfrm>
        <a:graphic>
          <a:graphicData uri="http://schemas.openxmlformats.org/drawingml/2006/table">
            <a:tbl>
              <a:tblPr/>
              <a:tblGrid>
                <a:gridCol w="579087">
                  <a:extLst>
                    <a:ext uri="{9D8B030D-6E8A-4147-A177-3AD203B41FA5}">
                      <a16:colId xmlns:a16="http://schemas.microsoft.com/office/drawing/2014/main" val="774459543"/>
                    </a:ext>
                  </a:extLst>
                </a:gridCol>
                <a:gridCol w="1708347">
                  <a:extLst>
                    <a:ext uri="{9D8B030D-6E8A-4147-A177-3AD203B41FA5}">
                      <a16:colId xmlns:a16="http://schemas.microsoft.com/office/drawing/2014/main" val="4128302877"/>
                    </a:ext>
                  </a:extLst>
                </a:gridCol>
                <a:gridCol w="1155351">
                  <a:extLst>
                    <a:ext uri="{9D8B030D-6E8A-4147-A177-3AD203B41FA5}">
                      <a16:colId xmlns:a16="http://schemas.microsoft.com/office/drawing/2014/main" val="3859178384"/>
                    </a:ext>
                  </a:extLst>
                </a:gridCol>
                <a:gridCol w="1154327">
                  <a:extLst>
                    <a:ext uri="{9D8B030D-6E8A-4147-A177-3AD203B41FA5}">
                      <a16:colId xmlns:a16="http://schemas.microsoft.com/office/drawing/2014/main" val="3353135978"/>
                    </a:ext>
                  </a:extLst>
                </a:gridCol>
                <a:gridCol w="1082183">
                  <a:extLst>
                    <a:ext uri="{9D8B030D-6E8A-4147-A177-3AD203B41FA5}">
                      <a16:colId xmlns:a16="http://schemas.microsoft.com/office/drawing/2014/main" val="2602650793"/>
                    </a:ext>
                  </a:extLst>
                </a:gridCol>
                <a:gridCol w="1484707">
                  <a:extLst>
                    <a:ext uri="{9D8B030D-6E8A-4147-A177-3AD203B41FA5}">
                      <a16:colId xmlns:a16="http://schemas.microsoft.com/office/drawing/2014/main" val="2706596074"/>
                    </a:ext>
                  </a:extLst>
                </a:gridCol>
              </a:tblGrid>
              <a:tr h="22869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551" marR="5551" marT="55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unicipio</a:t>
                      </a:r>
                    </a:p>
                  </a:txBody>
                  <a:tcPr marL="5551" marR="5551" marT="55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5551" marR="5551" marT="55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5551" marR="5551" marT="55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5551" marR="5551" marT="55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ferencia 2023  Vs</a:t>
                      </a:r>
                      <a:r>
                        <a:rPr lang="es-CO" sz="11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s-C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5551" marR="5551" marT="5551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783516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JICÁ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026559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Í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223883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PÓ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653063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NOCAIM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330352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CHETÁ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28661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DRID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245608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LÁEZ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477629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BATÉ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399087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ÓN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93953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JO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678879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BATÉ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26257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MEDIN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3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58919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EBRADANEGR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496593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SAN JUAN DE RIOSECO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673455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HO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570073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JACÁ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096186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ADUAS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929562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ET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940739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LVANI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6660792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CONTÁ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219266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CANCIPÁ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69865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MIJAC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835137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 MES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1155434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GU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577397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 ROSAL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1811646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IO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588210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QUEZ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882788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ACHOQUE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114088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APOIMA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410671"/>
                  </a:ext>
                </a:extLst>
              </a:tr>
              <a:tr h="18843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IPACÓN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</a:t>
                      </a:r>
                    </a:p>
                  </a:txBody>
                  <a:tcPr marL="5551" marR="5551" marT="555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3078032"/>
                  </a:ext>
                </a:extLst>
              </a:tr>
            </a:tbl>
          </a:graphicData>
        </a:graphic>
      </p:graphicFrame>
      <p:sp>
        <p:nvSpPr>
          <p:cNvPr id="21" name="Título 4"/>
          <p:cNvSpPr txBox="1">
            <a:spLocks/>
          </p:cNvSpPr>
          <p:nvPr/>
        </p:nvSpPr>
        <p:spPr>
          <a:xfrm>
            <a:off x="9198013" y="4054967"/>
            <a:ext cx="2993987" cy="5095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b="1" dirty="0"/>
              <a:t>87% </a:t>
            </a:r>
            <a:r>
              <a:rPr lang="es-CO" sz="1800" dirty="0"/>
              <a:t>de los municipios focalizados subieron su promedio global.</a:t>
            </a:r>
          </a:p>
          <a:p>
            <a:endParaRPr lang="es-CO" sz="1800" dirty="0"/>
          </a:p>
          <a:p>
            <a:endParaRPr lang="es-CO" sz="1800" dirty="0"/>
          </a:p>
          <a:p>
            <a:r>
              <a:rPr lang="es-CO" sz="1800" dirty="0"/>
              <a:t>Los municipios que más crecieron fueron </a:t>
            </a:r>
            <a:r>
              <a:rPr lang="es-CO" sz="1800" b="1" dirty="0"/>
              <a:t>Nocaima, San Juan de </a:t>
            </a:r>
            <a:r>
              <a:rPr lang="es-CO" sz="1800" b="1" dirty="0" err="1"/>
              <a:t>Rioseco</a:t>
            </a:r>
            <a:r>
              <a:rPr lang="es-CO" sz="1800" b="1" dirty="0"/>
              <a:t> y Medina</a:t>
            </a:r>
          </a:p>
        </p:txBody>
      </p:sp>
    </p:spTree>
    <p:extLst>
      <p:ext uri="{BB962C8B-B14F-4D97-AF65-F5344CB8AC3E}">
        <p14:creationId xmlns:p14="http://schemas.microsoft.com/office/powerpoint/2010/main" val="384417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>
            <a:extLst>
              <a:ext uri="{FF2B5EF4-FFF2-40B4-BE49-F238E27FC236}">
                <a16:creationId xmlns:a16="http://schemas.microsoft.com/office/drawing/2014/main" id="{C9FE9002-A3F7-E9EC-A624-A3970B35851C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11" name="object 2">
              <a:extLst>
                <a:ext uri="{FF2B5EF4-FFF2-40B4-BE49-F238E27FC236}">
                  <a16:creationId xmlns:a16="http://schemas.microsoft.com/office/drawing/2014/main" id="{E429EA14-7BF7-77FD-B657-FC8919FB7B99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6575418C-84A3-7072-4D3E-0F47769BBC5F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15" name="object 4">
              <a:extLst>
                <a:ext uri="{FF2B5EF4-FFF2-40B4-BE49-F238E27FC236}">
                  <a16:creationId xmlns:a16="http://schemas.microsoft.com/office/drawing/2014/main" id="{E451C4FC-A00F-3F6A-9FE2-EA2D2AC7E828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16" name="object 5">
              <a:extLst>
                <a:ext uri="{FF2B5EF4-FFF2-40B4-BE49-F238E27FC236}">
                  <a16:creationId xmlns:a16="http://schemas.microsoft.com/office/drawing/2014/main" id="{985556BA-A4D9-C407-F27F-F11A85C84396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17" name="object 6">
              <a:extLst>
                <a:ext uri="{FF2B5EF4-FFF2-40B4-BE49-F238E27FC236}">
                  <a16:creationId xmlns:a16="http://schemas.microsoft.com/office/drawing/2014/main" id="{1B4AD382-AD4B-6862-9D1B-1D6DFA35E3BA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</p:grpSp>
      <p:sp>
        <p:nvSpPr>
          <p:cNvPr id="37" name="Título 4"/>
          <p:cNvSpPr txBox="1">
            <a:spLocks/>
          </p:cNvSpPr>
          <p:nvPr/>
        </p:nvSpPr>
        <p:spPr>
          <a:xfrm>
            <a:off x="216249" y="678974"/>
            <a:ext cx="10495904" cy="5095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200" dirty="0"/>
              <a:t>3.5 Crecimiento sostenido en la clasificación de planteles 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624114" y="5922936"/>
            <a:ext cx="100880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es-CO" sz="1400" dirty="0"/>
              <a:t>Los EE focalizados en PROMCE presentan un aumento significativo en las categorías A+, A y B.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s-CO" sz="1400" dirty="0"/>
              <a:t>Por su parte, los EE ubicados en C y D.</a:t>
            </a:r>
          </a:p>
        </p:txBody>
      </p:sp>
      <p:sp>
        <p:nvSpPr>
          <p:cNvPr id="41" name="CuadroTexto 40"/>
          <p:cNvSpPr txBox="1"/>
          <p:nvPr/>
        </p:nvSpPr>
        <p:spPr>
          <a:xfrm>
            <a:off x="11745229" y="6336209"/>
            <a:ext cx="446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11</a:t>
            </a:r>
          </a:p>
        </p:txBody>
      </p:sp>
      <p:pic>
        <p:nvPicPr>
          <p:cNvPr id="38" name="Imagen 37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5791" y="1217518"/>
            <a:ext cx="7316820" cy="4687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4426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6816" y="0"/>
            <a:ext cx="12999103" cy="8667794"/>
          </a:xfrm>
          <a:prstGeom prst="rect">
            <a:avLst/>
          </a:prstGeom>
        </p:spPr>
      </p:pic>
      <p:grpSp>
        <p:nvGrpSpPr>
          <p:cNvPr id="6" name="Grupo 5">
            <a:extLst>
              <a:ext uri="{FF2B5EF4-FFF2-40B4-BE49-F238E27FC236}">
                <a16:creationId xmlns:a16="http://schemas.microsoft.com/office/drawing/2014/main" id="{C9FE9002-A3F7-E9EC-A624-A3970B35851C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11" name="object 2">
              <a:extLst>
                <a:ext uri="{FF2B5EF4-FFF2-40B4-BE49-F238E27FC236}">
                  <a16:creationId xmlns:a16="http://schemas.microsoft.com/office/drawing/2014/main" id="{E429EA14-7BF7-77FD-B657-FC8919FB7B99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6575418C-84A3-7072-4D3E-0F47769BBC5F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15" name="object 4">
              <a:extLst>
                <a:ext uri="{FF2B5EF4-FFF2-40B4-BE49-F238E27FC236}">
                  <a16:creationId xmlns:a16="http://schemas.microsoft.com/office/drawing/2014/main" id="{E451C4FC-A00F-3F6A-9FE2-EA2D2AC7E828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16" name="object 5">
              <a:extLst>
                <a:ext uri="{FF2B5EF4-FFF2-40B4-BE49-F238E27FC236}">
                  <a16:creationId xmlns:a16="http://schemas.microsoft.com/office/drawing/2014/main" id="{985556BA-A4D9-C407-F27F-F11A85C84396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17" name="object 6">
              <a:extLst>
                <a:ext uri="{FF2B5EF4-FFF2-40B4-BE49-F238E27FC236}">
                  <a16:creationId xmlns:a16="http://schemas.microsoft.com/office/drawing/2014/main" id="{1B4AD382-AD4B-6862-9D1B-1D6DFA35E3BA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</p:grpSp>
      <p:sp>
        <p:nvSpPr>
          <p:cNvPr id="18" name="Rectángulo redondeado 17"/>
          <p:cNvSpPr/>
          <p:nvPr/>
        </p:nvSpPr>
        <p:spPr>
          <a:xfrm>
            <a:off x="6832909" y="4336221"/>
            <a:ext cx="5054291" cy="126353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3600" b="1" dirty="0">
                <a:solidFill>
                  <a:schemeClr val="bg1"/>
                </a:solidFill>
              </a:rPr>
              <a:t>4.    Escalamiento     PROMCE 2024 - 2027</a:t>
            </a:r>
          </a:p>
        </p:txBody>
      </p:sp>
    </p:spTree>
    <p:extLst>
      <p:ext uri="{BB962C8B-B14F-4D97-AF65-F5344CB8AC3E}">
        <p14:creationId xmlns:p14="http://schemas.microsoft.com/office/powerpoint/2010/main" val="331639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24DDECB-E558-93EC-CE3E-4617D7FF1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820" y="797953"/>
            <a:ext cx="9363512" cy="443745"/>
          </a:xfrm>
        </p:spPr>
        <p:txBody>
          <a:bodyPr>
            <a:noAutofit/>
          </a:bodyPr>
          <a:lstStyle/>
          <a:p>
            <a:r>
              <a:rPr lang="es-CO" sz="3000" dirty="0"/>
              <a:t>4.1  Definir aspiración y métrica (3)</a:t>
            </a:r>
            <a:br>
              <a:rPr lang="es-CO" sz="2400" dirty="0"/>
            </a:br>
            <a:r>
              <a:rPr lang="es-CO" sz="1400" dirty="0"/>
              <a:t>Como resultado de la combinación de las aspiraciones descritas en la diapositiva anterior, se generaría este cambio en la distribución entre categorías</a:t>
            </a:r>
            <a:endParaRPr lang="es-CO" sz="2400" dirty="0"/>
          </a:p>
        </p:txBody>
      </p:sp>
      <p:grpSp>
        <p:nvGrpSpPr>
          <p:cNvPr id="46" name="Grupo 45">
            <a:extLst>
              <a:ext uri="{FF2B5EF4-FFF2-40B4-BE49-F238E27FC236}">
                <a16:creationId xmlns:a16="http://schemas.microsoft.com/office/drawing/2014/main" id="{235F783C-A69D-E149-A961-46BBC79DC3C2}"/>
              </a:ext>
            </a:extLst>
          </p:cNvPr>
          <p:cNvGrpSpPr/>
          <p:nvPr/>
        </p:nvGrpSpPr>
        <p:grpSpPr>
          <a:xfrm>
            <a:off x="9786354" y="314916"/>
            <a:ext cx="1398319" cy="376461"/>
            <a:chOff x="2408664" y="2437329"/>
            <a:chExt cx="920834" cy="376461"/>
          </a:xfrm>
        </p:grpSpPr>
        <p:sp>
          <p:nvSpPr>
            <p:cNvPr id="53" name="Marcador de contenido 2">
              <a:extLst>
                <a:ext uri="{FF2B5EF4-FFF2-40B4-BE49-F238E27FC236}">
                  <a16:creationId xmlns:a16="http://schemas.microsoft.com/office/drawing/2014/main" id="{6015E35B-E136-5F32-DDC0-9F0B01B8CEFE}"/>
                </a:ext>
              </a:extLst>
            </p:cNvPr>
            <p:cNvSpPr txBox="1">
              <a:spLocks/>
            </p:cNvSpPr>
            <p:nvPr/>
          </p:nvSpPr>
          <p:spPr>
            <a:xfrm>
              <a:off x="2408664" y="2466361"/>
              <a:ext cx="920834" cy="347429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Clr>
                  <a:schemeClr val="tx2">
                    <a:lumMod val="50000"/>
                    <a:lumOff val="50000"/>
                  </a:schemeClr>
                </a:buClr>
                <a:buSzPct val="75000"/>
                <a:buFont typeface="Wingdings" panose="05000000000000000000" pitchFamily="2" charset="2"/>
                <a:buChar char="§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indent="-228600" algn="l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Clr>
                  <a:schemeClr val="tx2">
                    <a:lumMod val="50000"/>
                    <a:lumOff val="50000"/>
                  </a:schemeClr>
                </a:buClr>
                <a:buSzPct val="75000"/>
                <a:buFont typeface="Wingdings" panose="05000000000000000000" pitchFamily="2" charset="2"/>
                <a:buChar char="§"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85800" indent="-228600" algn="l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Clr>
                  <a:schemeClr val="tx2">
                    <a:lumMod val="50000"/>
                    <a:lumOff val="50000"/>
                  </a:schemeClr>
                </a:buClr>
                <a:buSzPct val="75000"/>
                <a:buFont typeface="Wingdings" panose="05000000000000000000" pitchFamily="2" charset="2"/>
                <a:buChar char="§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914400" indent="-228600" algn="l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Clr>
                  <a:schemeClr val="tx2">
                    <a:lumMod val="50000"/>
                    <a:lumOff val="50000"/>
                  </a:schemeClr>
                </a:buClr>
                <a:buSzPct val="75000"/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1143000" indent="-228600" algn="l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Clr>
                  <a:schemeClr val="tx2">
                    <a:lumMod val="50000"/>
                    <a:lumOff val="50000"/>
                  </a:schemeClr>
                </a:buClr>
                <a:buSzPct val="75000"/>
                <a:buFont typeface="Wingdings" panose="05000000000000000000" pitchFamily="2" charset="2"/>
                <a:buChar char="§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s-CO" sz="1051" b="1" dirty="0">
                  <a:solidFill>
                    <a:schemeClr val="accent3"/>
                  </a:solidFill>
                </a:rPr>
                <a:t>ILUSTRATIVO</a:t>
              </a:r>
            </a:p>
          </p:txBody>
        </p:sp>
        <p:grpSp>
          <p:nvGrpSpPr>
            <p:cNvPr id="54" name="Grupo 53">
              <a:extLst>
                <a:ext uri="{FF2B5EF4-FFF2-40B4-BE49-F238E27FC236}">
                  <a16:creationId xmlns:a16="http://schemas.microsoft.com/office/drawing/2014/main" id="{EE8305BF-C639-6620-111E-74BB38DDCD30}"/>
                </a:ext>
              </a:extLst>
            </p:cNvPr>
            <p:cNvGrpSpPr/>
            <p:nvPr/>
          </p:nvGrpSpPr>
          <p:grpSpPr>
            <a:xfrm>
              <a:off x="2585306" y="2437329"/>
              <a:ext cx="526881" cy="283992"/>
              <a:chOff x="1681212" y="2426706"/>
              <a:chExt cx="1622323" cy="396957"/>
            </a:xfrm>
          </p:grpSpPr>
          <p:cxnSp>
            <p:nvCxnSpPr>
              <p:cNvPr id="55" name="Conector recto 54">
                <a:extLst>
                  <a:ext uri="{FF2B5EF4-FFF2-40B4-BE49-F238E27FC236}">
                    <a16:creationId xmlns:a16="http://schemas.microsoft.com/office/drawing/2014/main" id="{981E24B3-1EF8-386E-4D81-0AF6F6040A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81212" y="2426706"/>
                <a:ext cx="1622323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ector recto 55">
                <a:extLst>
                  <a:ext uri="{FF2B5EF4-FFF2-40B4-BE49-F238E27FC236}">
                    <a16:creationId xmlns:a16="http://schemas.microsoft.com/office/drawing/2014/main" id="{59AD271A-9E34-9A04-6051-D6EF87DCB31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81212" y="2823663"/>
                <a:ext cx="1622323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" name="CuadroTexto 18"/>
          <p:cNvSpPr txBox="1"/>
          <p:nvPr/>
        </p:nvSpPr>
        <p:spPr>
          <a:xfrm>
            <a:off x="11701688" y="6307179"/>
            <a:ext cx="446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13</a:t>
            </a: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21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22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23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24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25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graphicFrame>
        <p:nvGraphicFramePr>
          <p:cNvPr id="28" name="Gráfico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733597"/>
              </p:ext>
            </p:extLst>
          </p:nvPr>
        </p:nvGraphicFramePr>
        <p:xfrm>
          <a:off x="853255" y="1241698"/>
          <a:ext cx="5329832" cy="2650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Gráfico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1942241"/>
              </p:ext>
            </p:extLst>
          </p:nvPr>
        </p:nvGraphicFramePr>
        <p:xfrm>
          <a:off x="853255" y="4074324"/>
          <a:ext cx="5329832" cy="265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Marcador de contenido 3">
            <a:extLst>
              <a:ext uri="{FF2B5EF4-FFF2-40B4-BE49-F238E27FC236}">
                <a16:creationId xmlns:a16="http://schemas.microsoft.com/office/drawing/2014/main" id="{7C9A57B9-020F-A2B9-1F47-0B3478333BC9}"/>
              </a:ext>
            </a:extLst>
          </p:cNvPr>
          <p:cNvSpPr txBox="1">
            <a:spLocks/>
          </p:cNvSpPr>
          <p:nvPr/>
        </p:nvSpPr>
        <p:spPr>
          <a:xfrm>
            <a:off x="1387701" y="1606458"/>
            <a:ext cx="726899" cy="4219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1B2F2E">
                  <a:lumMod val="50000"/>
                  <a:lumOff val="50000"/>
                </a:srgbClr>
              </a:buClr>
              <a:buNone/>
              <a:defRPr/>
            </a:pPr>
            <a:r>
              <a:rPr lang="es-CO" sz="1400" b="1" dirty="0">
                <a:solidFill>
                  <a:srgbClr val="1B2F2E"/>
                </a:solidFill>
                <a:latin typeface="Grandview"/>
              </a:rPr>
              <a:t>2023</a:t>
            </a:r>
          </a:p>
        </p:txBody>
      </p:sp>
      <p:sp>
        <p:nvSpPr>
          <p:cNvPr id="31" name="Marcador de contenido 3">
            <a:extLst>
              <a:ext uri="{FF2B5EF4-FFF2-40B4-BE49-F238E27FC236}">
                <a16:creationId xmlns:a16="http://schemas.microsoft.com/office/drawing/2014/main" id="{A32A44F1-2543-DF2A-171C-34F2606101BE}"/>
              </a:ext>
            </a:extLst>
          </p:cNvPr>
          <p:cNvSpPr txBox="1">
            <a:spLocks/>
          </p:cNvSpPr>
          <p:nvPr/>
        </p:nvSpPr>
        <p:spPr>
          <a:xfrm>
            <a:off x="853255" y="4439084"/>
            <a:ext cx="1795795" cy="4219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2">
                  <a:lumMod val="50000"/>
                  <a:lumOff val="50000"/>
                </a:schemeClr>
              </a:buClr>
              <a:buSzPct val="75000"/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buClr>
                <a:srgbClr val="1B2F2E">
                  <a:lumMod val="50000"/>
                  <a:lumOff val="50000"/>
                </a:srgbClr>
              </a:buClr>
              <a:buNone/>
              <a:defRPr/>
            </a:pPr>
            <a:r>
              <a:rPr lang="es-CO" sz="1400" b="1" dirty="0">
                <a:solidFill>
                  <a:srgbClr val="1B2F2E"/>
                </a:solidFill>
                <a:latin typeface="Grandview"/>
              </a:rPr>
              <a:t>2027 (proyectado) 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7676562" y="2684758"/>
            <a:ext cx="350661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/>
              <a:t>Esta meta incrementaría los resultados de Cundinamarca en 8 puntos del promedio global.</a:t>
            </a:r>
          </a:p>
          <a:p>
            <a:endParaRPr lang="es-CO" dirty="0"/>
          </a:p>
          <a:p>
            <a:r>
              <a:rPr lang="es-CO" dirty="0"/>
              <a:t>Pasaría de 256 puntos a </a:t>
            </a:r>
            <a:r>
              <a:rPr lang="es-CO" sz="2400" b="1" dirty="0"/>
              <a:t>264</a:t>
            </a:r>
            <a:r>
              <a:rPr lang="es-CO" dirty="0"/>
              <a:t> en 2027 y se ubicaría como el segundo </a:t>
            </a:r>
            <a:r>
              <a:rPr lang="es-CO" sz="2000" i="1" dirty="0"/>
              <a:t>mejor departamento del país.</a:t>
            </a:r>
          </a:p>
        </p:txBody>
      </p:sp>
    </p:spTree>
    <p:extLst>
      <p:ext uri="{BB962C8B-B14F-4D97-AF65-F5344CB8AC3E}">
        <p14:creationId xmlns:p14="http://schemas.microsoft.com/office/powerpoint/2010/main" val="21382848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8336" y="-515466"/>
            <a:ext cx="13167363" cy="8778243"/>
          </a:xfrm>
          <a:prstGeom prst="rect">
            <a:avLst/>
          </a:prstGeom>
        </p:spPr>
      </p:pic>
      <p:sp>
        <p:nvSpPr>
          <p:cNvPr id="27" name="Google Shape;193;p32">
            <a:extLst>
              <a:ext uri="{FF2B5EF4-FFF2-40B4-BE49-F238E27FC236}">
                <a16:creationId xmlns:a16="http://schemas.microsoft.com/office/drawing/2014/main" id="{E1A83FFD-DDCE-C541-2034-F925902B8E88}"/>
              </a:ext>
            </a:extLst>
          </p:cNvPr>
          <p:cNvSpPr txBox="1">
            <a:spLocks/>
          </p:cNvSpPr>
          <p:nvPr/>
        </p:nvSpPr>
        <p:spPr>
          <a:xfrm>
            <a:off x="-203033" y="3688027"/>
            <a:ext cx="6348378" cy="1819926"/>
          </a:xfrm>
          <a:prstGeom prst="rect">
            <a:avLst/>
          </a:prstGeom>
          <a:noFill/>
          <a:ln w="158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</a:pPr>
            <a:r>
              <a:rPr lang="es-MX" sz="8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50" charset="0"/>
                <a:cs typeface="Poppins" panose="00000500000000000000" pitchFamily="50" charset="0"/>
              </a:rPr>
              <a:t>¡Gracias!</a:t>
            </a:r>
          </a:p>
        </p:txBody>
      </p:sp>
      <p:grpSp>
        <p:nvGrpSpPr>
          <p:cNvPr id="35" name="Grupo 34">
            <a:extLst>
              <a:ext uri="{FF2B5EF4-FFF2-40B4-BE49-F238E27FC236}">
                <a16:creationId xmlns:a16="http://schemas.microsoft.com/office/drawing/2014/main" id="{17602C24-8A91-2772-9B46-882A8055D6CC}"/>
              </a:ext>
            </a:extLst>
          </p:cNvPr>
          <p:cNvGrpSpPr/>
          <p:nvPr/>
        </p:nvGrpSpPr>
        <p:grpSpPr>
          <a:xfrm flipV="1">
            <a:off x="-438336" y="7994469"/>
            <a:ext cx="13167362" cy="322604"/>
            <a:chOff x="-1666028" y="891002"/>
            <a:chExt cx="12033597" cy="119888"/>
          </a:xfrm>
        </p:grpSpPr>
        <p:sp>
          <p:nvSpPr>
            <p:cNvPr id="36" name="object 2">
              <a:extLst>
                <a:ext uri="{FF2B5EF4-FFF2-40B4-BE49-F238E27FC236}">
                  <a16:creationId xmlns:a16="http://schemas.microsoft.com/office/drawing/2014/main" id="{1C0F77DF-9840-5607-1584-A2795D7F3D4D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37" name="object 3">
              <a:extLst>
                <a:ext uri="{FF2B5EF4-FFF2-40B4-BE49-F238E27FC236}">
                  <a16:creationId xmlns:a16="http://schemas.microsoft.com/office/drawing/2014/main" id="{8D263ADD-FE08-F926-A7CD-549DB90B6DA7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38" name="object 4">
              <a:extLst>
                <a:ext uri="{FF2B5EF4-FFF2-40B4-BE49-F238E27FC236}">
                  <a16:creationId xmlns:a16="http://schemas.microsoft.com/office/drawing/2014/main" id="{4809660B-A95C-C08F-057A-F076D997F2BE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39" name="object 5">
              <a:extLst>
                <a:ext uri="{FF2B5EF4-FFF2-40B4-BE49-F238E27FC236}">
                  <a16:creationId xmlns:a16="http://schemas.microsoft.com/office/drawing/2014/main" id="{A5C10A48-D463-8EFC-970F-8DFFF0F29E40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  <p:sp>
          <p:nvSpPr>
            <p:cNvPr id="40" name="object 6">
              <a:extLst>
                <a:ext uri="{FF2B5EF4-FFF2-40B4-BE49-F238E27FC236}">
                  <a16:creationId xmlns:a16="http://schemas.microsoft.com/office/drawing/2014/main" id="{EB489582-F1D8-CA10-452B-A74BA9A86E0E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/>
            </a:p>
          </p:txBody>
        </p:sp>
      </p:grpSp>
      <p:sp>
        <p:nvSpPr>
          <p:cNvPr id="10" name="CuadroTexto 9">
            <a:extLst>
              <a:ext uri="{FF2B5EF4-FFF2-40B4-BE49-F238E27FC236}">
                <a16:creationId xmlns:a16="http://schemas.microsoft.com/office/drawing/2014/main" id="{CA86DE5D-8129-BF52-BE0F-6E7FC991AF85}"/>
              </a:ext>
            </a:extLst>
          </p:cNvPr>
          <p:cNvSpPr txBox="1"/>
          <p:nvPr/>
        </p:nvSpPr>
        <p:spPr>
          <a:xfrm>
            <a:off x="141206" y="5991369"/>
            <a:ext cx="1099736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Poppins" panose="00000500000000000000" pitchFamily="50" charset="0"/>
              </a:rPr>
              <a:t>Seguiremos trabajando para hacer de Cundinamarca, la mejor región de América Latina por sus resultados en educación pública </a:t>
            </a:r>
            <a:endParaRPr lang="es-CO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Poppi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0502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5"/>
          <p:cNvSpPr>
            <a:spLocks noGrp="1"/>
          </p:cNvSpPr>
          <p:nvPr>
            <p:ph type="subTitle" idx="1"/>
          </p:nvPr>
        </p:nvSpPr>
        <p:spPr>
          <a:xfrm>
            <a:off x="1185967" y="1961755"/>
            <a:ext cx="10080595" cy="3436259"/>
          </a:xfrm>
        </p:spPr>
        <p:txBody>
          <a:bodyPr>
            <a:normAutofit/>
          </a:bodyPr>
          <a:lstStyle/>
          <a:p>
            <a:pPr algn="r"/>
            <a:r>
              <a:rPr lang="es-ES" sz="2000" dirty="0"/>
              <a:t>Es un programa de </a:t>
            </a:r>
            <a:r>
              <a:rPr lang="es-ES" b="1" dirty="0"/>
              <a:t>mejoramiento integral </a:t>
            </a:r>
            <a:r>
              <a:rPr lang="es-ES" sz="2000" dirty="0"/>
              <a:t>que busca consolidar un mayor compromiso de los docentes, para mejorar el bienestar y los aprendizajes de los estudiantes, con el fin de lograr avances significativos en las </a:t>
            </a:r>
            <a:r>
              <a:rPr lang="es-ES" b="1" i="1" dirty="0"/>
              <a:t>pruebas Saber 11</a:t>
            </a:r>
            <a:r>
              <a:rPr lang="es-ES" sz="2000" dirty="0"/>
              <a:t>.</a:t>
            </a:r>
          </a:p>
          <a:p>
            <a:pPr algn="r"/>
            <a:endParaRPr lang="es-ES" sz="2000" dirty="0"/>
          </a:p>
          <a:p>
            <a:pPr algn="r"/>
            <a:r>
              <a:rPr lang="es-ES" sz="2000" dirty="0"/>
              <a:t>El</a:t>
            </a:r>
            <a:r>
              <a:rPr lang="es-ES" sz="2000" b="1" dirty="0"/>
              <a:t> PROMCE,</a:t>
            </a:r>
            <a:r>
              <a:rPr lang="es-ES" sz="2000" dirty="0"/>
              <a:t> está orientado al fortalecimiento del liderazgo, las competencias socioemocionales y pedagógicas de los docentes y directivos docentes, con el fin de mejorar el clima escolar y alcanzar </a:t>
            </a:r>
            <a:r>
              <a:rPr lang="es-ES" sz="2000" i="1" dirty="0">
                <a:solidFill>
                  <a:srgbClr val="FF0000"/>
                </a:solidFill>
              </a:rPr>
              <a:t>mejores resultados institucionales</a:t>
            </a:r>
            <a:r>
              <a:rPr lang="es-ES" sz="2000" dirty="0"/>
              <a:t>.</a:t>
            </a:r>
          </a:p>
          <a:p>
            <a:pPr algn="r"/>
            <a:endParaRPr lang="es-ES" sz="2000" dirty="0"/>
          </a:p>
        </p:txBody>
      </p:sp>
      <p:grpSp>
        <p:nvGrpSpPr>
          <p:cNvPr id="43" name="Grupo 42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45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6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7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8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9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sp>
        <p:nvSpPr>
          <p:cNvPr id="11" name="Rectángulo redondeado 10"/>
          <p:cNvSpPr/>
          <p:nvPr/>
        </p:nvSpPr>
        <p:spPr>
          <a:xfrm>
            <a:off x="330437" y="221743"/>
            <a:ext cx="4764079" cy="663628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3200" b="1" dirty="0">
                <a:solidFill>
                  <a:schemeClr val="bg1"/>
                </a:solidFill>
              </a:rPr>
              <a:t>Modelo PROMCE</a:t>
            </a:r>
            <a:endParaRPr lang="es-CO" sz="3200" dirty="0">
              <a:solidFill>
                <a:schemeClr val="bg1"/>
              </a:solidFill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508914" y="254989"/>
            <a:ext cx="7931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50" charset="0"/>
                <a:cs typeface="Poppins" panose="00000500000000000000" pitchFamily="50" charset="0"/>
              </a:rPr>
              <a:t>1.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11745229" y="6336208"/>
            <a:ext cx="275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64260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o 21"/>
          <p:cNvGrpSpPr/>
          <p:nvPr/>
        </p:nvGrpSpPr>
        <p:grpSpPr>
          <a:xfrm>
            <a:off x="2759564" y="1499932"/>
            <a:ext cx="5570139" cy="5020942"/>
            <a:chOff x="6025820" y="895450"/>
            <a:chExt cx="6143118" cy="5493988"/>
          </a:xfrm>
        </p:grpSpPr>
        <p:grpSp>
          <p:nvGrpSpPr>
            <p:cNvPr id="24" name="Grupo 23"/>
            <p:cNvGrpSpPr/>
            <p:nvPr/>
          </p:nvGrpSpPr>
          <p:grpSpPr>
            <a:xfrm>
              <a:off x="6025820" y="895450"/>
              <a:ext cx="6143118" cy="5493988"/>
              <a:chOff x="5052231" y="444137"/>
              <a:chExt cx="6612176" cy="5913808"/>
            </a:xfrm>
          </p:grpSpPr>
          <p:grpSp>
            <p:nvGrpSpPr>
              <p:cNvPr id="27" name="Grupo 26">
                <a:extLst>
                  <a:ext uri="{FF2B5EF4-FFF2-40B4-BE49-F238E27FC236}">
                    <a16:creationId xmlns:a16="http://schemas.microsoft.com/office/drawing/2014/main" id="{DCC3C97D-7264-3FBC-CA49-B2932D612448}"/>
                  </a:ext>
                </a:extLst>
              </p:cNvPr>
              <p:cNvGrpSpPr/>
              <p:nvPr/>
            </p:nvGrpSpPr>
            <p:grpSpPr>
              <a:xfrm>
                <a:off x="5052231" y="444137"/>
                <a:ext cx="6612176" cy="5913808"/>
                <a:chOff x="1952359" y="1035007"/>
                <a:chExt cx="5568165" cy="5131852"/>
              </a:xfrm>
            </p:grpSpPr>
            <p:grpSp>
              <p:nvGrpSpPr>
                <p:cNvPr id="40" name="Google Shape;141;p3"/>
                <p:cNvGrpSpPr/>
                <p:nvPr/>
              </p:nvGrpSpPr>
              <p:grpSpPr>
                <a:xfrm>
                  <a:off x="1952359" y="1035007"/>
                  <a:ext cx="5568165" cy="5131852"/>
                  <a:chOff x="1508983" y="967586"/>
                  <a:chExt cx="6114536" cy="5638055"/>
                </a:xfrm>
              </p:grpSpPr>
              <p:grpSp>
                <p:nvGrpSpPr>
                  <p:cNvPr id="42" name="Google Shape;142;p3"/>
                  <p:cNvGrpSpPr/>
                  <p:nvPr/>
                </p:nvGrpSpPr>
                <p:grpSpPr>
                  <a:xfrm>
                    <a:off x="1909199" y="1064818"/>
                    <a:ext cx="5314415" cy="5220653"/>
                    <a:chOff x="4097787" y="2978323"/>
                    <a:chExt cx="929313" cy="912917"/>
                  </a:xfrm>
                </p:grpSpPr>
                <p:sp>
                  <p:nvSpPr>
                    <p:cNvPr id="74" name="Google Shape;143;p3"/>
                    <p:cNvSpPr/>
                    <p:nvPr/>
                  </p:nvSpPr>
                  <p:spPr>
                    <a:xfrm>
                      <a:off x="4108871" y="3115631"/>
                      <a:ext cx="320883" cy="30932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20883" h="309324" extrusionOk="0">
                          <a:moveTo>
                            <a:pt x="121920" y="3572"/>
                          </a:moveTo>
                          <a:cubicBezTo>
                            <a:pt x="50483" y="81677"/>
                            <a:pt x="4763" y="184547"/>
                            <a:pt x="0" y="296942"/>
                          </a:cubicBezTo>
                          <a:cubicBezTo>
                            <a:pt x="0" y="303609"/>
                            <a:pt x="4763" y="309324"/>
                            <a:pt x="11430" y="309324"/>
                          </a:cubicBezTo>
                          <a:lnTo>
                            <a:pt x="264795" y="309324"/>
                          </a:lnTo>
                          <a:cubicBezTo>
                            <a:pt x="270510" y="309324"/>
                            <a:pt x="275273" y="304562"/>
                            <a:pt x="276225" y="298847"/>
                          </a:cubicBezTo>
                          <a:cubicBezTo>
                            <a:pt x="280035" y="260747"/>
                            <a:pt x="295275" y="226457"/>
                            <a:pt x="318135" y="198834"/>
                          </a:cubicBezTo>
                          <a:cubicBezTo>
                            <a:pt x="321945" y="194072"/>
                            <a:pt x="321945" y="187404"/>
                            <a:pt x="317183" y="183594"/>
                          </a:cubicBezTo>
                          <a:lnTo>
                            <a:pt x="138113" y="3572"/>
                          </a:lnTo>
                          <a:cubicBezTo>
                            <a:pt x="133350" y="-1191"/>
                            <a:pt x="125730" y="-1191"/>
                            <a:pt x="121920" y="357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75" name="Google Shape;144;p3"/>
                    <p:cNvSpPr/>
                    <p:nvPr/>
                  </p:nvSpPr>
                  <p:spPr>
                    <a:xfrm>
                      <a:off x="4097787" y="3444101"/>
                      <a:ext cx="320560" cy="308371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20560" h="308371" extrusionOk="0">
                          <a:moveTo>
                            <a:pt x="0" y="11430"/>
                          </a:moveTo>
                          <a:cubicBezTo>
                            <a:pt x="4763" y="123825"/>
                            <a:pt x="50483" y="226695"/>
                            <a:pt x="121920" y="304800"/>
                          </a:cubicBezTo>
                          <a:cubicBezTo>
                            <a:pt x="126683" y="309563"/>
                            <a:pt x="134303" y="309563"/>
                            <a:pt x="138113" y="304800"/>
                          </a:cubicBezTo>
                          <a:lnTo>
                            <a:pt x="317183" y="125730"/>
                          </a:lnTo>
                          <a:cubicBezTo>
                            <a:pt x="320993" y="121920"/>
                            <a:pt x="321945" y="115252"/>
                            <a:pt x="318135" y="110490"/>
                          </a:cubicBezTo>
                          <a:cubicBezTo>
                            <a:pt x="295275" y="81915"/>
                            <a:pt x="280035" y="47625"/>
                            <a:pt x="276225" y="10477"/>
                          </a:cubicBezTo>
                          <a:cubicBezTo>
                            <a:pt x="275273" y="4763"/>
                            <a:pt x="270510" y="0"/>
                            <a:pt x="264795" y="0"/>
                          </a:cubicBezTo>
                          <a:lnTo>
                            <a:pt x="11430" y="0"/>
                          </a:lnTo>
                          <a:cubicBezTo>
                            <a:pt x="4763" y="0"/>
                            <a:pt x="0" y="4763"/>
                            <a:pt x="0" y="1143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76" name="Google Shape;145;p3"/>
                    <p:cNvSpPr/>
                    <p:nvPr/>
                  </p:nvSpPr>
                  <p:spPr>
                    <a:xfrm>
                      <a:off x="4255126" y="3567016"/>
                      <a:ext cx="308371" cy="32088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8371" h="320883" extrusionOk="0">
                          <a:moveTo>
                            <a:pt x="3572" y="198963"/>
                          </a:moveTo>
                          <a:cubicBezTo>
                            <a:pt x="81677" y="270401"/>
                            <a:pt x="183594" y="315168"/>
                            <a:pt x="296942" y="320883"/>
                          </a:cubicBezTo>
                          <a:cubicBezTo>
                            <a:pt x="303609" y="320883"/>
                            <a:pt x="308372" y="316121"/>
                            <a:pt x="308372" y="309453"/>
                          </a:cubicBezTo>
                          <a:lnTo>
                            <a:pt x="308372" y="56088"/>
                          </a:lnTo>
                          <a:cubicBezTo>
                            <a:pt x="308372" y="50373"/>
                            <a:pt x="303609" y="45611"/>
                            <a:pt x="297894" y="44658"/>
                          </a:cubicBezTo>
                          <a:cubicBezTo>
                            <a:pt x="259794" y="40848"/>
                            <a:pt x="225504" y="25608"/>
                            <a:pt x="197882" y="2748"/>
                          </a:cubicBezTo>
                          <a:cubicBezTo>
                            <a:pt x="193119" y="-1062"/>
                            <a:pt x="186452" y="-1062"/>
                            <a:pt x="182642" y="3701"/>
                          </a:cubicBezTo>
                          <a:lnTo>
                            <a:pt x="3572" y="182771"/>
                          </a:lnTo>
                          <a:cubicBezTo>
                            <a:pt x="-1191" y="187533"/>
                            <a:pt x="-1191" y="195153"/>
                            <a:pt x="3572" y="19896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77" name="Google Shape;146;p3"/>
                    <p:cNvSpPr/>
                    <p:nvPr/>
                  </p:nvSpPr>
                  <p:spPr>
                    <a:xfrm>
                      <a:off x="4576244" y="3570680"/>
                      <a:ext cx="308371" cy="32056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8371" h="320560" extrusionOk="0">
                          <a:moveTo>
                            <a:pt x="11430" y="320560"/>
                          </a:moveTo>
                          <a:cubicBezTo>
                            <a:pt x="123825" y="315798"/>
                            <a:pt x="226695" y="270078"/>
                            <a:pt x="304800" y="198640"/>
                          </a:cubicBezTo>
                          <a:cubicBezTo>
                            <a:pt x="309563" y="193878"/>
                            <a:pt x="309563" y="186258"/>
                            <a:pt x="304800" y="182448"/>
                          </a:cubicBezTo>
                          <a:lnTo>
                            <a:pt x="125730" y="3378"/>
                          </a:lnTo>
                          <a:cubicBezTo>
                            <a:pt x="121920" y="-432"/>
                            <a:pt x="115252" y="-1385"/>
                            <a:pt x="110490" y="2425"/>
                          </a:cubicBezTo>
                          <a:cubicBezTo>
                            <a:pt x="82868" y="25285"/>
                            <a:pt x="47625" y="39573"/>
                            <a:pt x="10477" y="44335"/>
                          </a:cubicBezTo>
                          <a:cubicBezTo>
                            <a:pt x="3810" y="45288"/>
                            <a:pt x="0" y="50050"/>
                            <a:pt x="0" y="55765"/>
                          </a:cubicBezTo>
                          <a:lnTo>
                            <a:pt x="0" y="309130"/>
                          </a:lnTo>
                          <a:cubicBezTo>
                            <a:pt x="0" y="315798"/>
                            <a:pt x="4763" y="320560"/>
                            <a:pt x="11430" y="32056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78" name="Google Shape;147;p3"/>
                    <p:cNvSpPr/>
                    <p:nvPr/>
                  </p:nvSpPr>
                  <p:spPr>
                    <a:xfrm>
                      <a:off x="4706929" y="3438525"/>
                      <a:ext cx="320171" cy="308371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20171" h="308371" extrusionOk="0">
                          <a:moveTo>
                            <a:pt x="2989" y="125730"/>
                          </a:moveTo>
                          <a:lnTo>
                            <a:pt x="182059" y="304800"/>
                          </a:lnTo>
                          <a:cubicBezTo>
                            <a:pt x="186822" y="309563"/>
                            <a:pt x="194442" y="309563"/>
                            <a:pt x="198252" y="304800"/>
                          </a:cubicBezTo>
                          <a:cubicBezTo>
                            <a:pt x="269689" y="226695"/>
                            <a:pt x="314457" y="124777"/>
                            <a:pt x="320172" y="11430"/>
                          </a:cubicBezTo>
                          <a:cubicBezTo>
                            <a:pt x="320172" y="4763"/>
                            <a:pt x="315409" y="0"/>
                            <a:pt x="308742" y="0"/>
                          </a:cubicBezTo>
                          <a:lnTo>
                            <a:pt x="55377" y="0"/>
                          </a:lnTo>
                          <a:cubicBezTo>
                            <a:pt x="49662" y="0"/>
                            <a:pt x="44899" y="4763"/>
                            <a:pt x="43947" y="10477"/>
                          </a:cubicBezTo>
                          <a:cubicBezTo>
                            <a:pt x="40137" y="48577"/>
                            <a:pt x="24897" y="82868"/>
                            <a:pt x="2037" y="110490"/>
                          </a:cubicBezTo>
                          <a:cubicBezTo>
                            <a:pt x="-821" y="115252"/>
                            <a:pt x="-821" y="121920"/>
                            <a:pt x="2989" y="12573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79" name="Google Shape;148;p3"/>
                    <p:cNvSpPr/>
                    <p:nvPr/>
                  </p:nvSpPr>
                  <p:spPr>
                    <a:xfrm>
                      <a:off x="4701305" y="3118990"/>
                      <a:ext cx="320560" cy="30847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20560" h="308476" extrusionOk="0">
                          <a:moveTo>
                            <a:pt x="320560" y="296942"/>
                          </a:moveTo>
                          <a:cubicBezTo>
                            <a:pt x="315798" y="184547"/>
                            <a:pt x="270078" y="81677"/>
                            <a:pt x="198640" y="3572"/>
                          </a:cubicBezTo>
                          <a:cubicBezTo>
                            <a:pt x="193878" y="-1191"/>
                            <a:pt x="186258" y="-1191"/>
                            <a:pt x="182448" y="3572"/>
                          </a:cubicBezTo>
                          <a:lnTo>
                            <a:pt x="3378" y="182642"/>
                          </a:lnTo>
                          <a:cubicBezTo>
                            <a:pt x="-432" y="186452"/>
                            <a:pt x="-1385" y="193119"/>
                            <a:pt x="2425" y="197882"/>
                          </a:cubicBezTo>
                          <a:cubicBezTo>
                            <a:pt x="25285" y="225504"/>
                            <a:pt x="39573" y="260747"/>
                            <a:pt x="44335" y="297894"/>
                          </a:cubicBezTo>
                          <a:cubicBezTo>
                            <a:pt x="45288" y="303609"/>
                            <a:pt x="50050" y="308372"/>
                            <a:pt x="55765" y="308372"/>
                          </a:cubicBezTo>
                          <a:lnTo>
                            <a:pt x="309130" y="308372"/>
                          </a:lnTo>
                          <a:cubicBezTo>
                            <a:pt x="315798" y="309324"/>
                            <a:pt x="320560" y="303609"/>
                            <a:pt x="320560" y="296942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80" name="Google Shape;149;p3"/>
                    <p:cNvSpPr/>
                    <p:nvPr/>
                  </p:nvSpPr>
                  <p:spPr>
                    <a:xfrm>
                      <a:off x="4569121" y="2978323"/>
                      <a:ext cx="308371" cy="32088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8371" h="320883" extrusionOk="0">
                          <a:moveTo>
                            <a:pt x="304800" y="121920"/>
                          </a:moveTo>
                          <a:cubicBezTo>
                            <a:pt x="226695" y="50483"/>
                            <a:pt x="123825" y="4763"/>
                            <a:pt x="11430" y="0"/>
                          </a:cubicBezTo>
                          <a:cubicBezTo>
                            <a:pt x="4763" y="0"/>
                            <a:pt x="0" y="4763"/>
                            <a:pt x="0" y="11430"/>
                          </a:cubicBezTo>
                          <a:lnTo>
                            <a:pt x="0" y="264795"/>
                          </a:lnTo>
                          <a:cubicBezTo>
                            <a:pt x="0" y="270510"/>
                            <a:pt x="4763" y="275273"/>
                            <a:pt x="10477" y="276225"/>
                          </a:cubicBezTo>
                          <a:cubicBezTo>
                            <a:pt x="48577" y="280035"/>
                            <a:pt x="82868" y="295275"/>
                            <a:pt x="110490" y="318135"/>
                          </a:cubicBezTo>
                          <a:cubicBezTo>
                            <a:pt x="115252" y="321945"/>
                            <a:pt x="121920" y="321945"/>
                            <a:pt x="125730" y="317183"/>
                          </a:cubicBezTo>
                          <a:lnTo>
                            <a:pt x="304800" y="138113"/>
                          </a:lnTo>
                          <a:cubicBezTo>
                            <a:pt x="309563" y="133350"/>
                            <a:pt x="309563" y="125730"/>
                            <a:pt x="304800" y="12192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ffectLst>
                      <a:outerShdw blurRad="127000" dist="38100" dir="5400000" algn="t" rotWithShape="0">
                        <a:srgbClr val="000000">
                          <a:alpha val="14901"/>
                        </a:srgbClr>
                      </a:outerShdw>
                    </a:effectLst>
                  </p:spPr>
                  <p:txBody>
                    <a:bodyPr spcFirstLastPara="1" wrap="square" lIns="91425" tIns="45700" rIns="91425" bIns="45700" anchor="ctr" anchorCtr="0">
                      <a:noAutofit/>
                    </a:bodyPr>
                    <a:lstStyle/>
                    <a:p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</p:grpSp>
              <p:sp>
                <p:nvSpPr>
                  <p:cNvPr id="43" name="Google Shape;150;p3"/>
                  <p:cNvSpPr/>
                  <p:nvPr/>
                </p:nvSpPr>
                <p:spPr>
                  <a:xfrm>
                    <a:off x="6899857" y="2497743"/>
                    <a:ext cx="642291" cy="642288"/>
                  </a:xfrm>
                  <a:prstGeom prst="ellipse">
                    <a:avLst/>
                  </a:prstGeom>
                  <a:solidFill>
                    <a:srgbClr val="FEC113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endParaRPr sz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  <a:ea typeface="Poppins"/>
                      <a:cs typeface="Poppins"/>
                      <a:sym typeface="Poppins"/>
                    </a:endParaRPr>
                  </a:p>
                </p:txBody>
              </p:sp>
              <p:sp>
                <p:nvSpPr>
                  <p:cNvPr id="44" name="Google Shape;151;p3"/>
                  <p:cNvSpPr/>
                  <p:nvPr/>
                </p:nvSpPr>
                <p:spPr>
                  <a:xfrm>
                    <a:off x="6981227" y="4230437"/>
                    <a:ext cx="642292" cy="642288"/>
                  </a:xfrm>
                  <a:prstGeom prst="ellipse">
                    <a:avLst/>
                  </a:prstGeom>
                  <a:solidFill>
                    <a:srgbClr val="2E75B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endParaRPr sz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  <a:ea typeface="Poppins"/>
                      <a:cs typeface="Poppins"/>
                      <a:sym typeface="Poppins"/>
                    </a:endParaRPr>
                  </a:p>
                </p:txBody>
              </p:sp>
              <p:sp>
                <p:nvSpPr>
                  <p:cNvPr id="45" name="Google Shape;152;p3"/>
                  <p:cNvSpPr/>
                  <p:nvPr/>
                </p:nvSpPr>
                <p:spPr>
                  <a:xfrm>
                    <a:off x="5627121" y="967586"/>
                    <a:ext cx="642290" cy="642288"/>
                  </a:xfrm>
                  <a:prstGeom prst="ellipse">
                    <a:avLst/>
                  </a:prstGeom>
                  <a:solidFill>
                    <a:srgbClr val="90298D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endParaRPr sz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  <a:ea typeface="Poppins"/>
                      <a:cs typeface="Poppins"/>
                      <a:sym typeface="Poppins"/>
                    </a:endParaRPr>
                  </a:p>
                </p:txBody>
              </p:sp>
              <p:grpSp>
                <p:nvGrpSpPr>
                  <p:cNvPr id="46" name="Google Shape;164;p3"/>
                  <p:cNvGrpSpPr/>
                  <p:nvPr/>
                </p:nvGrpSpPr>
                <p:grpSpPr>
                  <a:xfrm>
                    <a:off x="2079215" y="2889208"/>
                    <a:ext cx="1685099" cy="592544"/>
                    <a:chOff x="4641557" y="1987897"/>
                    <a:chExt cx="1569926" cy="592544"/>
                  </a:xfrm>
                </p:grpSpPr>
                <p:sp>
                  <p:nvSpPr>
                    <p:cNvPr id="72" name="Google Shape;165;p3"/>
                    <p:cNvSpPr txBox="1"/>
                    <p:nvPr/>
                  </p:nvSpPr>
                  <p:spPr>
                    <a:xfrm>
                      <a:off x="4641557" y="1987897"/>
                      <a:ext cx="1437434" cy="15662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es-CO" sz="12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Liderazgo</a:t>
                      </a:r>
                      <a:endParaRPr sz="1600" dirty="0">
                        <a:latin typeface="+mj-lt"/>
                      </a:endParaRPr>
                    </a:p>
                    <a:p>
                      <a:pPr algn="ctr"/>
                      <a:r>
                        <a:rPr lang="es-CO" sz="12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Educativo</a:t>
                      </a:r>
                      <a:endParaRPr sz="1600" dirty="0">
                        <a:latin typeface="+mj-lt"/>
                      </a:endParaRPr>
                    </a:p>
                  </p:txBody>
                </p:sp>
                <p:sp>
                  <p:nvSpPr>
                    <p:cNvPr id="73" name="Google Shape;166;p3"/>
                    <p:cNvSpPr txBox="1"/>
                    <p:nvPr/>
                  </p:nvSpPr>
                  <p:spPr>
                    <a:xfrm>
                      <a:off x="4659270" y="2286722"/>
                      <a:ext cx="1552213" cy="29371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91425" tIns="45700" rIns="91425" bIns="45700" anchor="t" anchorCtr="0">
                      <a:spAutoFit/>
                    </a:bodyPr>
                    <a:lstStyle/>
                    <a:p>
                      <a:pPr>
                        <a:buClr>
                          <a:schemeClr val="dk1"/>
                        </a:buClr>
                        <a:buSzPts val="800"/>
                      </a:pPr>
                      <a:r>
                        <a:rPr lang="es-CO" sz="11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Directivos docentes</a:t>
                      </a:r>
                      <a:endParaRPr sz="11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</a:endParaRPr>
                    </a:p>
                  </p:txBody>
                </p:sp>
              </p:grpSp>
              <p:sp>
                <p:nvSpPr>
                  <p:cNvPr id="47" name="Google Shape;167;p3"/>
                  <p:cNvSpPr txBox="1"/>
                  <p:nvPr/>
                </p:nvSpPr>
                <p:spPr>
                  <a:xfrm>
                    <a:off x="2582107" y="2413074"/>
                    <a:ext cx="537107" cy="33440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es-CO" sz="2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rPr>
                      <a:t>1</a:t>
                    </a:r>
                    <a:endParaRPr sz="24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48" name="Google Shape;168;p3"/>
                  <p:cNvGrpSpPr/>
                  <p:nvPr/>
                </p:nvGrpSpPr>
                <p:grpSpPr>
                  <a:xfrm>
                    <a:off x="2030640" y="4239038"/>
                    <a:ext cx="1734145" cy="1303649"/>
                    <a:chOff x="4581981" y="1803909"/>
                    <a:chExt cx="1615622" cy="1303649"/>
                  </a:xfrm>
                </p:grpSpPr>
                <p:sp>
                  <p:nvSpPr>
                    <p:cNvPr id="70" name="Google Shape;169;p3"/>
                    <p:cNvSpPr txBox="1"/>
                    <p:nvPr/>
                  </p:nvSpPr>
                  <p:spPr>
                    <a:xfrm>
                      <a:off x="4581981" y="1803909"/>
                      <a:ext cx="1615622" cy="27710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es-CO" sz="11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Competencias Socioemocionales</a:t>
                      </a:r>
                      <a:endParaRPr sz="1100" dirty="0">
                        <a:latin typeface="+mj-lt"/>
                      </a:endParaRPr>
                    </a:p>
                  </p:txBody>
                </p:sp>
                <p:sp>
                  <p:nvSpPr>
                    <p:cNvPr id="71" name="Google Shape;170;p3"/>
                    <p:cNvSpPr txBox="1"/>
                    <p:nvPr/>
                  </p:nvSpPr>
                  <p:spPr>
                    <a:xfrm>
                      <a:off x="4668993" y="2139910"/>
                      <a:ext cx="1093745" cy="96764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91425" tIns="45700" rIns="91425" bIns="45700" anchor="t" anchorCtr="0">
                      <a:spAutoFit/>
                    </a:bodyPr>
                    <a:lstStyle/>
                    <a:p>
                      <a:pPr marL="171446" indent="-171446">
                        <a:buClr>
                          <a:schemeClr val="dk1"/>
                        </a:buClr>
                        <a:buSzPts val="800"/>
                        <a:buFont typeface="Arial"/>
                        <a:buChar char="•"/>
                      </a:pPr>
                      <a:r>
                        <a:rPr lang="es-CO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Docentes </a:t>
                      </a:r>
                    </a:p>
                    <a:p>
                      <a:pPr marL="171446" indent="-171446">
                        <a:buClr>
                          <a:schemeClr val="dk1"/>
                        </a:buClr>
                        <a:buSzPts val="800"/>
                        <a:buFont typeface="Arial"/>
                        <a:buChar char="•"/>
                      </a:pPr>
                      <a:r>
                        <a:rPr lang="es-CO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Directivos docentes</a:t>
                      </a:r>
                      <a:endParaRPr sz="10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</a:endParaRPr>
                    </a:p>
                    <a:p>
                      <a:pPr marL="171446" indent="-120648">
                        <a:buClr>
                          <a:schemeClr val="dk1"/>
                        </a:buClr>
                        <a:buSzPts val="800"/>
                      </a:pPr>
                      <a:endParaRPr sz="10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171446" indent="-120648">
                        <a:buClr>
                          <a:schemeClr val="dk1"/>
                        </a:buClr>
                        <a:buSzPts val="800"/>
                      </a:pPr>
                      <a:endParaRPr sz="10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</p:grpSp>
              <p:sp>
                <p:nvSpPr>
                  <p:cNvPr id="49" name="Google Shape;171;p3"/>
                  <p:cNvSpPr txBox="1"/>
                  <p:nvPr/>
                </p:nvSpPr>
                <p:spPr>
                  <a:xfrm>
                    <a:off x="2105791" y="3869015"/>
                    <a:ext cx="1542889" cy="33440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es-CO" sz="2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rPr>
                      <a:t>2</a:t>
                    </a:r>
                    <a:endParaRPr sz="24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50" name="Google Shape;176;p3"/>
                  <p:cNvGrpSpPr/>
                  <p:nvPr/>
                </p:nvGrpSpPr>
                <p:grpSpPr>
                  <a:xfrm>
                    <a:off x="2781151" y="5262818"/>
                    <a:ext cx="2205156" cy="1117960"/>
                    <a:chOff x="2926665" y="1676491"/>
                    <a:chExt cx="2054438" cy="1117960"/>
                  </a:xfrm>
                </p:grpSpPr>
                <p:sp>
                  <p:nvSpPr>
                    <p:cNvPr id="68" name="Google Shape;177;p3"/>
                    <p:cNvSpPr txBox="1"/>
                    <p:nvPr/>
                  </p:nvSpPr>
                  <p:spPr>
                    <a:xfrm>
                      <a:off x="2926665" y="1676491"/>
                      <a:ext cx="2054438" cy="17684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es-CO" sz="12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Preparación </a:t>
                      </a:r>
                      <a:endParaRPr sz="1200" dirty="0">
                        <a:latin typeface="+mj-lt"/>
                      </a:endParaRPr>
                    </a:p>
                    <a:p>
                      <a:pPr algn="ctr"/>
                      <a:r>
                        <a:rPr lang="es-CO" sz="12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Pruebas Saber</a:t>
                      </a:r>
                      <a:r>
                        <a:rPr lang="es-CO" sz="1200" dirty="0">
                          <a:latin typeface="+mj-lt"/>
                          <a:sym typeface="Poppins"/>
                        </a:rPr>
                        <a:t> </a:t>
                      </a:r>
                      <a:r>
                        <a:rPr lang="es-ES" sz="12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11</a:t>
                      </a:r>
                      <a:endParaRPr sz="1200" dirty="0"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sp>
                  <p:nvSpPr>
                    <p:cNvPr id="69" name="Google Shape;178;p3"/>
                    <p:cNvSpPr txBox="1"/>
                    <p:nvPr/>
                  </p:nvSpPr>
                  <p:spPr>
                    <a:xfrm>
                      <a:off x="3324816" y="1964469"/>
                      <a:ext cx="1500400" cy="82998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91425" tIns="45700" rIns="91425" bIns="45700" anchor="t" anchorCtr="0">
                      <a:spAutoFit/>
                    </a:bodyPr>
                    <a:lstStyle/>
                    <a:p>
                      <a:pPr marL="171446" indent="-171446">
                        <a:buClr>
                          <a:schemeClr val="dk1"/>
                        </a:buClr>
                        <a:buSzPts val="800"/>
                        <a:buFont typeface="Arial"/>
                        <a:buChar char="•"/>
                      </a:pPr>
                      <a:r>
                        <a:rPr lang="es-CO" sz="1051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Estudiantes</a:t>
                      </a:r>
                    </a:p>
                    <a:p>
                      <a:pPr>
                        <a:buClr>
                          <a:schemeClr val="dk1"/>
                        </a:buClr>
                        <a:buSzPts val="800"/>
                      </a:pPr>
                      <a:r>
                        <a:rPr lang="es-CO" sz="1051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     de Grado 11</a:t>
                      </a:r>
                      <a:endParaRPr sz="105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</a:endParaRPr>
                    </a:p>
                    <a:p>
                      <a:pPr marL="171446" indent="-120648">
                        <a:buClr>
                          <a:schemeClr val="dk1"/>
                        </a:buClr>
                        <a:buSzPts val="800"/>
                      </a:pPr>
                      <a:endParaRPr sz="105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171446" indent="-120648">
                        <a:buClr>
                          <a:schemeClr val="dk1"/>
                        </a:buClr>
                        <a:buSzPts val="800"/>
                      </a:pPr>
                      <a:endParaRPr sz="105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</p:grpSp>
              <p:sp>
                <p:nvSpPr>
                  <p:cNvPr id="51" name="Google Shape;179;p3"/>
                  <p:cNvSpPr txBox="1"/>
                  <p:nvPr/>
                </p:nvSpPr>
                <p:spPr>
                  <a:xfrm>
                    <a:off x="3135174" y="4870410"/>
                    <a:ext cx="1542888" cy="33440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es-CO" sz="2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cs typeface="Poppins"/>
                        <a:sym typeface="Poppins"/>
                      </a:rPr>
                      <a:t>3</a:t>
                    </a:r>
                    <a:endParaRPr sz="24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52" name="Google Shape;180;p3"/>
                  <p:cNvGrpSpPr/>
                  <p:nvPr/>
                </p:nvGrpSpPr>
                <p:grpSpPr>
                  <a:xfrm>
                    <a:off x="5585167" y="4171764"/>
                    <a:ext cx="1542888" cy="954314"/>
                    <a:chOff x="4646487" y="1766084"/>
                    <a:chExt cx="1437434" cy="954314"/>
                  </a:xfrm>
                </p:grpSpPr>
                <p:sp>
                  <p:nvSpPr>
                    <p:cNvPr id="66" name="Google Shape;181;p3"/>
                    <p:cNvSpPr txBox="1"/>
                    <p:nvPr/>
                  </p:nvSpPr>
                  <p:spPr>
                    <a:xfrm>
                      <a:off x="4646487" y="1766084"/>
                      <a:ext cx="1437434" cy="1566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es-CO" sz="11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Escuela de familias</a:t>
                      </a:r>
                      <a:endParaRPr sz="1100" dirty="0">
                        <a:latin typeface="+mj-lt"/>
                      </a:endParaRPr>
                    </a:p>
                  </p:txBody>
                </p:sp>
                <p:sp>
                  <p:nvSpPr>
                    <p:cNvPr id="67" name="Google Shape;182;p3"/>
                    <p:cNvSpPr txBox="1"/>
                    <p:nvPr/>
                  </p:nvSpPr>
                  <p:spPr>
                    <a:xfrm>
                      <a:off x="4713424" y="1994674"/>
                      <a:ext cx="1340342" cy="725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91425" tIns="45700" rIns="91425" bIns="45700" anchor="t" anchorCtr="0">
                      <a:spAutoFit/>
                    </a:bodyPr>
                    <a:lstStyle/>
                    <a:p>
                      <a:pPr marL="171446" indent="-171446">
                        <a:buClr>
                          <a:schemeClr val="dk1"/>
                        </a:buClr>
                        <a:buSzPts val="800"/>
                        <a:buFont typeface="Arial"/>
                        <a:buChar char="•"/>
                      </a:pPr>
                      <a:r>
                        <a:rPr lang="es-CO" sz="9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Docentes y orientadores.</a:t>
                      </a:r>
                    </a:p>
                    <a:p>
                      <a:pPr marL="171446" indent="-171446">
                        <a:buClr>
                          <a:schemeClr val="dk1"/>
                        </a:buClr>
                        <a:buSzPts val="800"/>
                        <a:buFont typeface="Arial" panose="020B0604020202020204" pitchFamily="34" charset="0"/>
                        <a:buChar char="•"/>
                      </a:pPr>
                      <a:r>
                        <a:rPr lang="es-CO" sz="9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Padres, madres y cuidadores</a:t>
                      </a:r>
                      <a:endParaRPr sz="9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</a:endParaRPr>
                    </a:p>
                  </p:txBody>
                </p:sp>
              </p:grpSp>
              <p:sp>
                <p:nvSpPr>
                  <p:cNvPr id="53" name="Google Shape;183;p3"/>
                  <p:cNvSpPr txBox="1"/>
                  <p:nvPr/>
                </p:nvSpPr>
                <p:spPr>
                  <a:xfrm>
                    <a:off x="5596616" y="3787273"/>
                    <a:ext cx="1542888" cy="33440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es-CO" sz="2400" b="1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rPr>
                      <a:t>5</a:t>
                    </a:r>
                    <a:endParaRPr sz="24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54" name="Google Shape;188;p3"/>
                  <p:cNvGrpSpPr/>
                  <p:nvPr/>
                </p:nvGrpSpPr>
                <p:grpSpPr>
                  <a:xfrm>
                    <a:off x="4592829" y="1713494"/>
                    <a:ext cx="1475853" cy="906231"/>
                    <a:chOff x="4660083" y="1657524"/>
                    <a:chExt cx="1374982" cy="906231"/>
                  </a:xfrm>
                </p:grpSpPr>
                <p:sp>
                  <p:nvSpPr>
                    <p:cNvPr id="64" name="Google Shape;189;p3"/>
                    <p:cNvSpPr txBox="1"/>
                    <p:nvPr/>
                  </p:nvSpPr>
                  <p:spPr>
                    <a:xfrm>
                      <a:off x="4660083" y="1657524"/>
                      <a:ext cx="1374982" cy="49426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es-CO" sz="1200" dirty="0">
                          <a:latin typeface="+mj-lt"/>
                          <a:ea typeface="Poppins"/>
                          <a:cs typeface="Poppins"/>
                          <a:sym typeface="Poppins"/>
                        </a:rPr>
                        <a:t>Escuela de Rectores y Coord. </a:t>
                      </a:r>
                      <a:endParaRPr sz="1200" dirty="0">
                        <a:latin typeface="+mj-lt"/>
                      </a:endParaRPr>
                    </a:p>
                  </p:txBody>
                </p:sp>
                <p:sp>
                  <p:nvSpPr>
                    <p:cNvPr id="65" name="Google Shape;190;p3"/>
                    <p:cNvSpPr txBox="1"/>
                    <p:nvPr/>
                  </p:nvSpPr>
                  <p:spPr>
                    <a:xfrm>
                      <a:off x="4699217" y="2079953"/>
                      <a:ext cx="1283427" cy="48380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spcFirstLastPara="1" wrap="square" lIns="91425" tIns="45700" rIns="91425" bIns="45700" anchor="t" anchorCtr="0">
                      <a:spAutoFit/>
                    </a:bodyPr>
                    <a:lstStyle/>
                    <a:p>
                      <a:pPr marL="171446" indent="-171446">
                        <a:buClr>
                          <a:schemeClr val="dk1"/>
                        </a:buClr>
                        <a:buSzPts val="800"/>
                        <a:buFont typeface="Arial"/>
                        <a:buChar char="•"/>
                      </a:pPr>
                      <a:r>
                        <a:rPr lang="es-CO" sz="11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j-lt"/>
                          <a:ea typeface="Poppins"/>
                          <a:cs typeface="Poppins"/>
                          <a:sym typeface="Poppins"/>
                        </a:rPr>
                        <a:t>Directivos docentes</a:t>
                      </a:r>
                      <a:endParaRPr sz="11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</a:endParaRPr>
                    </a:p>
                  </p:txBody>
                </p:sp>
              </p:grpSp>
              <p:sp>
                <p:nvSpPr>
                  <p:cNvPr id="55" name="Google Shape;191;p3"/>
                  <p:cNvSpPr txBox="1"/>
                  <p:nvPr/>
                </p:nvSpPr>
                <p:spPr>
                  <a:xfrm>
                    <a:off x="4585957" y="1417452"/>
                    <a:ext cx="1542888" cy="33440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es-CO" sz="24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rPr>
                      <a:t>7</a:t>
                    </a:r>
                    <a:endParaRPr sz="24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56" name="Google Shape;193;p3"/>
                  <p:cNvSpPr/>
                  <p:nvPr/>
                </p:nvSpPr>
                <p:spPr>
                  <a:xfrm>
                    <a:off x="3340568" y="5951568"/>
                    <a:ext cx="642290" cy="642288"/>
                  </a:xfrm>
                  <a:prstGeom prst="ellipse">
                    <a:avLst/>
                  </a:prstGeom>
                  <a:solidFill>
                    <a:srgbClr val="FF0000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endParaRPr sz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  <a:ea typeface="Poppins"/>
                      <a:cs typeface="Poppins"/>
                      <a:sym typeface="Poppins"/>
                    </a:endParaRPr>
                  </a:p>
                </p:txBody>
              </p:sp>
              <p:sp>
                <p:nvSpPr>
                  <p:cNvPr id="57" name="Google Shape;195;p3"/>
                  <p:cNvSpPr/>
                  <p:nvPr/>
                </p:nvSpPr>
                <p:spPr>
                  <a:xfrm>
                    <a:off x="5364272" y="5963353"/>
                    <a:ext cx="642291" cy="642288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endParaRPr sz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+mj-lt"/>
                      <a:ea typeface="Poppins"/>
                      <a:cs typeface="Poppins"/>
                      <a:sym typeface="Poppins"/>
                    </a:endParaRPr>
                  </a:p>
                </p:txBody>
              </p:sp>
              <p:grpSp>
                <p:nvGrpSpPr>
                  <p:cNvPr id="58" name="Google Shape;197;p3"/>
                  <p:cNvGrpSpPr/>
                  <p:nvPr/>
                </p:nvGrpSpPr>
                <p:grpSpPr>
                  <a:xfrm>
                    <a:off x="1508983" y="4231912"/>
                    <a:ext cx="642291" cy="642288"/>
                    <a:chOff x="1578766" y="4276858"/>
                    <a:chExt cx="642291" cy="642288"/>
                  </a:xfrm>
                </p:grpSpPr>
                <p:sp>
                  <p:nvSpPr>
                    <p:cNvPr id="62" name="Google Shape;198;p3"/>
                    <p:cNvSpPr/>
                    <p:nvPr/>
                  </p:nvSpPr>
                  <p:spPr>
                    <a:xfrm>
                      <a:off x="1578766" y="4276858"/>
                      <a:ext cx="642291" cy="642288"/>
                    </a:xfrm>
                    <a:prstGeom prst="ellipse">
                      <a:avLst/>
                    </a:prstGeom>
                    <a:solidFill>
                      <a:srgbClr val="FFC000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pic>
                  <p:nvPicPr>
                    <p:cNvPr id="63" name="Google Shape;199;p3"/>
                    <p:cNvPicPr preferRelativeResize="0"/>
                    <p:nvPr/>
                  </p:nvPicPr>
                  <p:blipFill rotWithShape="1">
                    <a:blip r:embed="rId2">
                      <a:alphaModFix/>
                    </a:blip>
                    <a:srcRect/>
                    <a:stretch/>
                  </p:blipFill>
                  <p:spPr>
                    <a:xfrm>
                      <a:off x="1697307" y="4414028"/>
                      <a:ext cx="367947" cy="36794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</p:pic>
              </p:grpSp>
              <p:grpSp>
                <p:nvGrpSpPr>
                  <p:cNvPr id="59" name="Google Shape;200;p3"/>
                  <p:cNvGrpSpPr/>
                  <p:nvPr/>
                </p:nvGrpSpPr>
                <p:grpSpPr>
                  <a:xfrm>
                    <a:off x="1538990" y="2464789"/>
                    <a:ext cx="642291" cy="642288"/>
                    <a:chOff x="1672600" y="2174290"/>
                    <a:chExt cx="642291" cy="642288"/>
                  </a:xfrm>
                </p:grpSpPr>
                <p:sp>
                  <p:nvSpPr>
                    <p:cNvPr id="60" name="Google Shape;201;p3"/>
                    <p:cNvSpPr/>
                    <p:nvPr/>
                  </p:nvSpPr>
                  <p:spPr>
                    <a:xfrm>
                      <a:off x="1672600" y="2174290"/>
                      <a:ext cx="642291" cy="642288"/>
                    </a:xfrm>
                    <a:prstGeom prst="ellipse">
                      <a:avLst/>
                    </a:prstGeom>
                    <a:solidFill>
                      <a:srgbClr val="2E75B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endParaRPr sz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j-lt"/>
                        <a:ea typeface="Poppins"/>
                        <a:cs typeface="Poppins"/>
                        <a:sym typeface="Poppins"/>
                      </a:endParaRPr>
                    </a:p>
                  </p:txBody>
                </p:sp>
                <p:pic>
                  <p:nvPicPr>
                    <p:cNvPr id="61" name="Google Shape;202;p3"/>
                    <p:cNvPicPr preferRelativeResize="0"/>
                    <p:nvPr/>
                  </p:nvPicPr>
                  <p:blipFill rotWithShape="1">
                    <a:blip r:embed="rId3">
                      <a:alphaModFix/>
                    </a:blip>
                    <a:srcRect/>
                    <a:stretch/>
                  </p:blipFill>
                  <p:spPr>
                    <a:xfrm>
                      <a:off x="1827862" y="2338892"/>
                      <a:ext cx="328716" cy="32871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</p:pic>
              </p:grpSp>
            </p:grpSp>
            <p:pic>
              <p:nvPicPr>
                <p:cNvPr id="41" name="Google Shape;138;p3" descr="Casa"/>
                <p:cNvPicPr preferRelativeResize="0"/>
                <p:nvPr/>
              </p:nvPicPr>
              <p:blipFill rotWithShape="1">
                <a:blip r:embed="rId4">
                  <a:alphaModFix/>
                </a:blip>
                <a:srcRect/>
                <a:stretch/>
              </p:blipFill>
              <p:spPr>
                <a:xfrm>
                  <a:off x="6996055" y="4026810"/>
                  <a:ext cx="436401" cy="45363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28" name="Google Shape;173;p3">
                <a:extLst>
                  <a:ext uri="{FF2B5EF4-FFF2-40B4-BE49-F238E27FC236}">
                    <a16:creationId xmlns:a16="http://schemas.microsoft.com/office/drawing/2014/main" id="{6E4A892C-5469-A1E3-BA6D-24D656CB34E4}"/>
                  </a:ext>
                </a:extLst>
              </p:cNvPr>
              <p:cNvSpPr txBox="1"/>
              <p:nvPr/>
            </p:nvSpPr>
            <p:spPr>
              <a:xfrm>
                <a:off x="9438712" y="2415186"/>
                <a:ext cx="1668455" cy="1618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es-CO" sz="1200" dirty="0">
                    <a:latin typeface="+mj-lt"/>
                    <a:ea typeface="Poppins"/>
                    <a:cs typeface="Poppins"/>
                    <a:sym typeface="Poppins"/>
                  </a:rPr>
                  <a:t>Gestión </a:t>
                </a:r>
              </a:p>
              <a:p>
                <a:pPr algn="ctr"/>
                <a:r>
                  <a:rPr lang="es-CO" sz="1200" dirty="0">
                    <a:latin typeface="+mj-lt"/>
                    <a:ea typeface="Poppins"/>
                    <a:cs typeface="Poppins"/>
                    <a:sym typeface="Poppins"/>
                  </a:rPr>
                  <a:t>Escolar</a:t>
                </a:r>
                <a:endParaRPr sz="1200" dirty="0">
                  <a:latin typeface="+mj-lt"/>
                </a:endParaRPr>
              </a:p>
            </p:txBody>
          </p:sp>
          <p:sp>
            <p:nvSpPr>
              <p:cNvPr id="29" name="Google Shape;174;p3">
                <a:extLst>
                  <a:ext uri="{FF2B5EF4-FFF2-40B4-BE49-F238E27FC236}">
                    <a16:creationId xmlns:a16="http://schemas.microsoft.com/office/drawing/2014/main" id="{88C71628-3FD0-4314-FC0D-FC74FC47CADD}"/>
                  </a:ext>
                </a:extLst>
              </p:cNvPr>
              <p:cNvSpPr txBox="1"/>
              <p:nvPr/>
            </p:nvSpPr>
            <p:spPr>
              <a:xfrm>
                <a:off x="9672891" y="2706469"/>
                <a:ext cx="1668455" cy="70684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171446" indent="-171446">
                  <a:buClr>
                    <a:schemeClr val="dk1"/>
                  </a:buClr>
                  <a:buSzPts val="800"/>
                  <a:buFont typeface="Arial"/>
                  <a:buChar char="•"/>
                </a:pPr>
                <a:r>
                  <a:rPr lang="es-CO" sz="1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ea typeface="Poppins"/>
                    <a:cs typeface="Poppins"/>
                    <a:sym typeface="Poppins"/>
                  </a:rPr>
                  <a:t>Comité de Calidad</a:t>
                </a:r>
                <a:endParaRPr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Poppins"/>
                  <a:cs typeface="Poppins"/>
                  <a:sym typeface="Poppins"/>
                </a:endParaRPr>
              </a:p>
              <a:p>
                <a:pPr marL="171446" indent="-120648">
                  <a:buClr>
                    <a:schemeClr val="dk1"/>
                  </a:buClr>
                  <a:buSzPts val="800"/>
                </a:pPr>
                <a:endParaRPr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Poppins"/>
                  <a:cs typeface="Poppins"/>
                  <a:sym typeface="Poppins"/>
                </a:endParaRPr>
              </a:p>
            </p:txBody>
          </p:sp>
          <p:sp>
            <p:nvSpPr>
              <p:cNvPr id="30" name="Google Shape;175;p3">
                <a:extLst>
                  <a:ext uri="{FF2B5EF4-FFF2-40B4-BE49-F238E27FC236}">
                    <a16:creationId xmlns:a16="http://schemas.microsoft.com/office/drawing/2014/main" id="{AF86DD73-7921-A48B-CFD4-1435168C5BBC}"/>
                  </a:ext>
                </a:extLst>
              </p:cNvPr>
              <p:cNvSpPr txBox="1"/>
              <p:nvPr/>
            </p:nvSpPr>
            <p:spPr>
              <a:xfrm>
                <a:off x="9393826" y="1930998"/>
                <a:ext cx="1668458" cy="3456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es-CO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Poppins"/>
                    <a:sym typeface="Poppins"/>
                  </a:rPr>
                  <a:t>6</a:t>
                </a:r>
                <a:endParaRPr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endParaRPr>
              </a:p>
            </p:txBody>
          </p:sp>
          <p:pic>
            <p:nvPicPr>
              <p:cNvPr id="31" name="Google Shape;196;p3">
                <a:extLst>
                  <a:ext uri="{FF2B5EF4-FFF2-40B4-BE49-F238E27FC236}">
                    <a16:creationId xmlns:a16="http://schemas.microsoft.com/office/drawing/2014/main" id="{708DA952-4FDC-62D8-3892-291C3DEB2D36}"/>
                  </a:ext>
                </a:extLst>
              </p:cNvPr>
              <p:cNvPicPr preferRelativeResize="0"/>
              <p:nvPr/>
            </p:nvPicPr>
            <p:blipFill rotWithShape="1">
              <a:blip r:embed="rId5">
                <a:alphaModFix/>
              </a:blip>
              <a:srcRect/>
              <a:stretch/>
            </p:blipFill>
            <p:spPr>
              <a:xfrm>
                <a:off x="6895061" y="5792444"/>
                <a:ext cx="998898" cy="429645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2" name="Google Shape;192;p3">
                <a:extLst>
                  <a:ext uri="{FF2B5EF4-FFF2-40B4-BE49-F238E27FC236}">
                    <a16:creationId xmlns:a16="http://schemas.microsoft.com/office/drawing/2014/main" id="{0DCB3ECE-BD9C-CCF2-A44E-1FA86C7193F3}"/>
                  </a:ext>
                </a:extLst>
              </p:cNvPr>
              <p:cNvPicPr preferRelativeResize="0"/>
              <p:nvPr/>
            </p:nvPicPr>
            <p:blipFill rotWithShape="1">
              <a:blip r:embed="rId6">
                <a:alphaModFix/>
              </a:blip>
              <a:srcRect/>
              <a:stretch/>
            </p:blipFill>
            <p:spPr>
              <a:xfrm>
                <a:off x="9300095" y="5775525"/>
                <a:ext cx="475525" cy="45451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33" name="Google Shape;185;p3">
                <a:extLst>
                  <a:ext uri="{FF2B5EF4-FFF2-40B4-BE49-F238E27FC236}">
                    <a16:creationId xmlns:a16="http://schemas.microsoft.com/office/drawing/2014/main" id="{586C088C-170A-63DA-95B6-3424CB9BBA77}"/>
                  </a:ext>
                </a:extLst>
              </p:cNvPr>
              <p:cNvSpPr txBox="1"/>
              <p:nvPr/>
            </p:nvSpPr>
            <p:spPr>
              <a:xfrm>
                <a:off x="8456954" y="5013719"/>
                <a:ext cx="1668454" cy="1618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es-CO" sz="1200" dirty="0">
                    <a:latin typeface="+mj-lt"/>
                    <a:ea typeface="Poppins"/>
                    <a:cs typeface="Poppins"/>
                    <a:sym typeface="Poppins"/>
                  </a:rPr>
                  <a:t>Formación Docente</a:t>
                </a:r>
                <a:endParaRPr sz="1200" dirty="0">
                  <a:latin typeface="+mj-lt"/>
                </a:endParaRPr>
              </a:p>
            </p:txBody>
          </p:sp>
          <p:sp>
            <p:nvSpPr>
              <p:cNvPr id="34" name="Google Shape;186;p3">
                <a:extLst>
                  <a:ext uri="{FF2B5EF4-FFF2-40B4-BE49-F238E27FC236}">
                    <a16:creationId xmlns:a16="http://schemas.microsoft.com/office/drawing/2014/main" id="{3ED537AF-67A0-D0AE-0A55-D788BE2E0D8D}"/>
                  </a:ext>
                </a:extLst>
              </p:cNvPr>
              <p:cNvSpPr txBox="1"/>
              <p:nvPr/>
            </p:nvSpPr>
            <p:spPr>
              <a:xfrm>
                <a:off x="8500597" y="5253078"/>
                <a:ext cx="1340238" cy="3080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171446" indent="-171446" algn="r">
                  <a:buClr>
                    <a:schemeClr val="dk1"/>
                  </a:buClr>
                  <a:buSzPts val="800"/>
                  <a:buFont typeface="Arial"/>
                  <a:buChar char="•"/>
                </a:pPr>
                <a:r>
                  <a:rPr lang="es-CO" sz="11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ea typeface="Poppins"/>
                    <a:cs typeface="Poppins"/>
                    <a:sym typeface="Poppins"/>
                  </a:rPr>
                  <a:t>Docentes</a:t>
                </a:r>
                <a:endParaRPr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5" name="Google Shape;187;p3">
                <a:extLst>
                  <a:ext uri="{FF2B5EF4-FFF2-40B4-BE49-F238E27FC236}">
                    <a16:creationId xmlns:a16="http://schemas.microsoft.com/office/drawing/2014/main" id="{1D9CBB24-7015-3594-2027-92300897F43A}"/>
                  </a:ext>
                </a:extLst>
              </p:cNvPr>
              <p:cNvSpPr txBox="1"/>
              <p:nvPr/>
            </p:nvSpPr>
            <p:spPr>
              <a:xfrm>
                <a:off x="8314569" y="4566715"/>
                <a:ext cx="1668458" cy="3456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es-CO" sz="24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Poppins"/>
                    <a:sym typeface="Poppins"/>
                  </a:rPr>
                  <a:t>4</a:t>
                </a:r>
                <a:endParaRPr sz="2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endParaRPr>
              </a:p>
            </p:txBody>
          </p:sp>
          <p:pic>
            <p:nvPicPr>
              <p:cNvPr id="36" name="Imagen 35">
                <a:extLst>
                  <a:ext uri="{FF2B5EF4-FFF2-40B4-BE49-F238E27FC236}">
                    <a16:creationId xmlns:a16="http://schemas.microsoft.com/office/drawing/2014/main" id="{30E9FFCF-4617-42F6-396A-8442F178B67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6441" t="2306" r="3325" b="13273"/>
              <a:stretch/>
            </p:blipFill>
            <p:spPr>
              <a:xfrm>
                <a:off x="7313959" y="2271385"/>
                <a:ext cx="2120255" cy="2066427"/>
              </a:xfrm>
              <a:prstGeom prst="flowChartConnector">
                <a:avLst/>
              </a:prstGeom>
            </p:spPr>
          </p:pic>
          <p:grpSp>
            <p:nvGrpSpPr>
              <p:cNvPr id="37" name="Group 2">
                <a:extLst>
                  <a:ext uri="{FF2B5EF4-FFF2-40B4-BE49-F238E27FC236}">
                    <a16:creationId xmlns:a16="http://schemas.microsoft.com/office/drawing/2014/main" id="{D89BC085-BCCE-4F2A-0EFE-C460EB5F6855}"/>
                  </a:ext>
                </a:extLst>
              </p:cNvPr>
              <p:cNvGrpSpPr/>
              <p:nvPr/>
            </p:nvGrpSpPr>
            <p:grpSpPr>
              <a:xfrm>
                <a:off x="7760851" y="3568347"/>
                <a:ext cx="1277862" cy="468827"/>
                <a:chOff x="0" y="0"/>
                <a:chExt cx="2044523" cy="660400"/>
              </a:xfrm>
              <a:solidFill>
                <a:schemeClr val="bg1">
                  <a:alpha val="74000"/>
                </a:schemeClr>
              </a:solidFill>
            </p:grpSpPr>
            <p:sp>
              <p:nvSpPr>
                <p:cNvPr id="39" name="Freeform 3">
                  <a:extLst>
                    <a:ext uri="{FF2B5EF4-FFF2-40B4-BE49-F238E27FC236}">
                      <a16:creationId xmlns:a16="http://schemas.microsoft.com/office/drawing/2014/main" id="{23651BF7-3C95-7203-396D-74A1162BDD15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2044523" cy="660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44523" h="660400">
                      <a:moveTo>
                        <a:pt x="1920062" y="660400"/>
                      </a:moveTo>
                      <a:lnTo>
                        <a:pt x="124460" y="660400"/>
                      </a:lnTo>
                      <a:cubicBezTo>
                        <a:pt x="55880" y="660400"/>
                        <a:pt x="0" y="604520"/>
                        <a:pt x="0" y="535940"/>
                      </a:cubicBezTo>
                      <a:lnTo>
                        <a:pt x="0" y="124460"/>
                      </a:lnTo>
                      <a:cubicBezTo>
                        <a:pt x="0" y="55880"/>
                        <a:pt x="55880" y="0"/>
                        <a:pt x="124460" y="0"/>
                      </a:cubicBezTo>
                      <a:lnTo>
                        <a:pt x="1920063" y="0"/>
                      </a:lnTo>
                      <a:cubicBezTo>
                        <a:pt x="1988643" y="0"/>
                        <a:pt x="2044523" y="55880"/>
                        <a:pt x="2044523" y="124460"/>
                      </a:cubicBezTo>
                      <a:lnTo>
                        <a:pt x="2044523" y="535940"/>
                      </a:lnTo>
                      <a:cubicBezTo>
                        <a:pt x="2044523" y="604520"/>
                        <a:pt x="1988643" y="660400"/>
                        <a:pt x="1920063" y="660400"/>
                      </a:cubicBezTo>
                      <a:close/>
                    </a:path>
                  </a:pathLst>
                </a:custGeom>
                <a:grpFill/>
              </p:spPr>
            </p:sp>
          </p:grpSp>
          <p:sp>
            <p:nvSpPr>
              <p:cNvPr id="38" name="Google Shape;153;p3">
                <a:extLst>
                  <a:ext uri="{FF2B5EF4-FFF2-40B4-BE49-F238E27FC236}">
                    <a16:creationId xmlns:a16="http://schemas.microsoft.com/office/drawing/2014/main" id="{585F91DC-25B8-EED7-E12C-3E07773318CC}"/>
                  </a:ext>
                </a:extLst>
              </p:cNvPr>
              <p:cNvSpPr txBox="1"/>
              <p:nvPr/>
            </p:nvSpPr>
            <p:spPr>
              <a:xfrm>
                <a:off x="7649896" y="3534496"/>
                <a:ext cx="1471668" cy="6040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es-CO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ea typeface="Poppins"/>
                    <a:cs typeface="Poppins"/>
                    <a:sym typeface="Poppins"/>
                  </a:rPr>
                  <a:t>Establecimiento Educativo</a:t>
                </a:r>
                <a:endParaRPr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ea typeface="Poppins"/>
                  <a:cs typeface="Poppins"/>
                  <a:sym typeface="Poppins"/>
                </a:endParaRPr>
              </a:p>
            </p:txBody>
          </p:sp>
        </p:grpSp>
        <p:pic>
          <p:nvPicPr>
            <p:cNvPr id="25" name="Google Shape;199;p3">
              <a:extLst>
                <a:ext uri="{FF2B5EF4-FFF2-40B4-BE49-F238E27FC236}">
                  <a16:creationId xmlns:a16="http://schemas.microsoft.com/office/drawing/2014/main" id="{9A573E83-C6B6-2EBA-6752-A46B7C41C8FB}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 t="59948"/>
            <a:stretch/>
          </p:blipFill>
          <p:spPr>
            <a:xfrm>
              <a:off x="11443652" y="2567518"/>
              <a:ext cx="666323" cy="24127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Google Shape;202;p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0306389" y="997342"/>
              <a:ext cx="432222" cy="36574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1" name="Grupo 80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82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Poppins" panose="00000500000000000000" pitchFamily="50" charset="0"/>
              </a:endParaRPr>
            </a:p>
          </p:txBody>
        </p:sp>
        <p:sp>
          <p:nvSpPr>
            <p:cNvPr id="83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Poppins" panose="00000500000000000000" pitchFamily="50" charset="0"/>
              </a:endParaRPr>
            </a:p>
          </p:txBody>
        </p:sp>
        <p:sp>
          <p:nvSpPr>
            <p:cNvPr id="84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Poppins" panose="00000500000000000000" pitchFamily="50" charset="0"/>
              </a:endParaRPr>
            </a:p>
          </p:txBody>
        </p:sp>
        <p:sp>
          <p:nvSpPr>
            <p:cNvPr id="85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Poppins" panose="00000500000000000000" pitchFamily="50" charset="0"/>
              </a:endParaRPr>
            </a:p>
          </p:txBody>
        </p:sp>
        <p:sp>
          <p:nvSpPr>
            <p:cNvPr id="86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Poppins" panose="00000500000000000000" pitchFamily="50" charset="0"/>
              </a:endParaRPr>
            </a:p>
          </p:txBody>
        </p:sp>
      </p:grpSp>
      <p:sp>
        <p:nvSpPr>
          <p:cNvPr id="94" name="Título 4"/>
          <p:cNvSpPr txBox="1">
            <a:spLocks/>
          </p:cNvSpPr>
          <p:nvPr/>
        </p:nvSpPr>
        <p:spPr>
          <a:xfrm>
            <a:off x="679339" y="-436366"/>
            <a:ext cx="10495904" cy="167082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200" dirty="0"/>
              <a:t>1.1 Componentes PROMCE</a:t>
            </a:r>
          </a:p>
        </p:txBody>
      </p:sp>
      <p:sp>
        <p:nvSpPr>
          <p:cNvPr id="89" name="CuadroTexto 88"/>
          <p:cNvSpPr txBox="1"/>
          <p:nvPr/>
        </p:nvSpPr>
        <p:spPr>
          <a:xfrm>
            <a:off x="11745229" y="6336208"/>
            <a:ext cx="275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2792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34728" y="1"/>
            <a:ext cx="14306027" cy="8039100"/>
          </a:xfrm>
          <a:prstGeom prst="rect">
            <a:avLst/>
          </a:prstGeom>
        </p:spPr>
      </p:pic>
      <p:grpSp>
        <p:nvGrpSpPr>
          <p:cNvPr id="35" name="Grupo 34">
            <a:extLst>
              <a:ext uri="{FF2B5EF4-FFF2-40B4-BE49-F238E27FC236}">
                <a16:creationId xmlns:a16="http://schemas.microsoft.com/office/drawing/2014/main" id="{17602C24-8A91-2772-9B46-882A8055D6CC}"/>
              </a:ext>
            </a:extLst>
          </p:cNvPr>
          <p:cNvGrpSpPr/>
          <p:nvPr/>
        </p:nvGrpSpPr>
        <p:grpSpPr>
          <a:xfrm flipV="1">
            <a:off x="-3854" y="6763597"/>
            <a:ext cx="12195855" cy="108592"/>
            <a:chOff x="-1666028" y="891002"/>
            <a:chExt cx="12033597" cy="119888"/>
          </a:xfrm>
        </p:grpSpPr>
        <p:sp>
          <p:nvSpPr>
            <p:cNvPr id="36" name="object 2">
              <a:extLst>
                <a:ext uri="{FF2B5EF4-FFF2-40B4-BE49-F238E27FC236}">
                  <a16:creationId xmlns:a16="http://schemas.microsoft.com/office/drawing/2014/main" id="{1C0F77DF-9840-5607-1584-A2795D7F3D4D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pPr defTabSz="1219140">
                <a:buClr>
                  <a:srgbClr val="000000"/>
                </a:buClr>
              </a:pPr>
              <a:endParaRPr sz="2132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" name="object 3">
              <a:extLst>
                <a:ext uri="{FF2B5EF4-FFF2-40B4-BE49-F238E27FC236}">
                  <a16:creationId xmlns:a16="http://schemas.microsoft.com/office/drawing/2014/main" id="{8D263ADD-FE08-F926-A7CD-549DB90B6DA7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pPr defTabSz="1219140">
                <a:buClr>
                  <a:srgbClr val="000000"/>
                </a:buClr>
              </a:pPr>
              <a:endParaRPr sz="2132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8" name="object 4">
              <a:extLst>
                <a:ext uri="{FF2B5EF4-FFF2-40B4-BE49-F238E27FC236}">
                  <a16:creationId xmlns:a16="http://schemas.microsoft.com/office/drawing/2014/main" id="{4809660B-A95C-C08F-057A-F076D997F2BE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pPr defTabSz="1219140">
                <a:buClr>
                  <a:srgbClr val="000000"/>
                </a:buClr>
              </a:pPr>
              <a:endParaRPr sz="2132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9" name="object 5">
              <a:extLst>
                <a:ext uri="{FF2B5EF4-FFF2-40B4-BE49-F238E27FC236}">
                  <a16:creationId xmlns:a16="http://schemas.microsoft.com/office/drawing/2014/main" id="{A5C10A48-D463-8EFC-970F-8DFFF0F29E40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pPr defTabSz="1219140">
                <a:buClr>
                  <a:srgbClr val="000000"/>
                </a:buClr>
              </a:pPr>
              <a:endParaRPr sz="2132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0" name="object 6">
              <a:extLst>
                <a:ext uri="{FF2B5EF4-FFF2-40B4-BE49-F238E27FC236}">
                  <a16:creationId xmlns:a16="http://schemas.microsoft.com/office/drawing/2014/main" id="{EB489582-F1D8-CA10-452B-A74BA9A86E0E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pPr defTabSz="1219140">
                <a:buClr>
                  <a:srgbClr val="000000"/>
                </a:buClr>
              </a:pPr>
              <a:endParaRPr sz="2132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4" name="Rectángulo redondeado 23"/>
          <p:cNvSpPr/>
          <p:nvPr/>
        </p:nvSpPr>
        <p:spPr>
          <a:xfrm>
            <a:off x="4782299" y="108508"/>
            <a:ext cx="6582387" cy="82869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CO" sz="3200" b="1" dirty="0">
                <a:solidFill>
                  <a:schemeClr val="bg1"/>
                </a:solidFill>
              </a:rPr>
              <a:t>Implementación 2012 - 2023</a:t>
            </a:r>
            <a:endParaRPr lang="es-CO" sz="3200" dirty="0">
              <a:solidFill>
                <a:schemeClr val="bg1"/>
              </a:solidFill>
            </a:endParaRPr>
          </a:p>
        </p:txBody>
      </p:sp>
      <p:sp>
        <p:nvSpPr>
          <p:cNvPr id="25" name="CuadroTexto 24"/>
          <p:cNvSpPr txBox="1"/>
          <p:nvPr/>
        </p:nvSpPr>
        <p:spPr>
          <a:xfrm>
            <a:off x="5011527" y="135668"/>
            <a:ext cx="793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5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50" charset="0"/>
                <a:cs typeface="Poppins" panose="00000500000000000000" pitchFamily="50" charset="0"/>
              </a:rPr>
              <a:t>2.</a:t>
            </a:r>
          </a:p>
        </p:txBody>
      </p:sp>
    </p:spTree>
    <p:extLst>
      <p:ext uri="{BB962C8B-B14F-4D97-AF65-F5344CB8AC3E}">
        <p14:creationId xmlns:p14="http://schemas.microsoft.com/office/powerpoint/2010/main" val="375050040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889007"/>
              </p:ext>
            </p:extLst>
          </p:nvPr>
        </p:nvGraphicFramePr>
        <p:xfrm>
          <a:off x="-134098" y="2029771"/>
          <a:ext cx="12637932" cy="1379911"/>
        </p:xfrm>
        <a:graphic>
          <a:graphicData uri="http://schemas.openxmlformats.org/drawingml/2006/table">
            <a:tbl>
              <a:tblPr/>
              <a:tblGrid>
                <a:gridCol w="1053161">
                  <a:extLst>
                    <a:ext uri="{9D8B030D-6E8A-4147-A177-3AD203B41FA5}">
                      <a16:colId xmlns:a16="http://schemas.microsoft.com/office/drawing/2014/main" val="2986463729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828303159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1100491196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2713309003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626002916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4047371011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3005712511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1411241369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4081160130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3250830193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208165354"/>
                    </a:ext>
                  </a:extLst>
                </a:gridCol>
                <a:gridCol w="1053161">
                  <a:extLst>
                    <a:ext uri="{9D8B030D-6E8A-4147-A177-3AD203B41FA5}">
                      <a16:colId xmlns:a16="http://schemas.microsoft.com/office/drawing/2014/main" val="1286351269"/>
                    </a:ext>
                  </a:extLst>
                </a:gridCol>
              </a:tblGrid>
              <a:tr h="270571"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3130655"/>
                  </a:ext>
                </a:extLst>
              </a:tr>
              <a:tr h="270571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7695786"/>
                  </a:ext>
                </a:extLst>
              </a:tr>
              <a:tr h="284099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2854577"/>
                  </a:ext>
                </a:extLst>
              </a:tr>
              <a:tr h="284099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313827"/>
                  </a:ext>
                </a:extLst>
              </a:tr>
              <a:tr h="270571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595959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8325061"/>
                  </a:ext>
                </a:extLst>
              </a:tr>
            </a:tbl>
          </a:graphicData>
        </a:graphic>
      </p:graphicFrame>
      <p:grpSp>
        <p:nvGrpSpPr>
          <p:cNvPr id="43" name="Grupo 42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45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6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7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8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49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sp>
        <p:nvSpPr>
          <p:cNvPr id="12" name="Título 4"/>
          <p:cNvSpPr txBox="1">
            <a:spLocks/>
          </p:cNvSpPr>
          <p:nvPr/>
        </p:nvSpPr>
        <p:spPr>
          <a:xfrm>
            <a:off x="325115" y="136353"/>
            <a:ext cx="10495904" cy="6917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3200" dirty="0"/>
              <a:t>2.2 Escalamiento y proyección PROMCE 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561566" y="1862425"/>
            <a:ext cx="75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chemeClr val="accent3">
                    <a:lumMod val="50000"/>
                  </a:schemeClr>
                </a:solidFill>
              </a:rPr>
              <a:t>2012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2798263" y="1862425"/>
            <a:ext cx="75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chemeClr val="accent3">
                    <a:lumMod val="50000"/>
                  </a:schemeClr>
                </a:solidFill>
              </a:rPr>
              <a:t>2016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4757686" y="1862425"/>
            <a:ext cx="75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chemeClr val="accent3">
                    <a:lumMod val="50000"/>
                  </a:schemeClr>
                </a:solidFill>
              </a:rPr>
              <a:t>2019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6882999" y="1862425"/>
            <a:ext cx="75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chemeClr val="accent3">
                    <a:lumMod val="50000"/>
                  </a:schemeClr>
                </a:solidFill>
              </a:rPr>
              <a:t>2021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8955459" y="1840509"/>
            <a:ext cx="75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chemeClr val="accent3">
                    <a:lumMod val="50000"/>
                  </a:schemeClr>
                </a:solidFill>
              </a:rPr>
              <a:t>2024</a:t>
            </a:r>
          </a:p>
        </p:txBody>
      </p:sp>
      <p:sp>
        <p:nvSpPr>
          <p:cNvPr id="31" name="Rectángulo redondeado 30"/>
          <p:cNvSpPr/>
          <p:nvPr/>
        </p:nvSpPr>
        <p:spPr>
          <a:xfrm>
            <a:off x="8633865" y="3461054"/>
            <a:ext cx="1499016" cy="58477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Rectángulo redondeado 29"/>
          <p:cNvSpPr/>
          <p:nvPr/>
        </p:nvSpPr>
        <p:spPr>
          <a:xfrm>
            <a:off x="6519750" y="3447870"/>
            <a:ext cx="1539017" cy="58477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9" name="Rectángulo redondeado 28"/>
          <p:cNvSpPr/>
          <p:nvPr/>
        </p:nvSpPr>
        <p:spPr>
          <a:xfrm>
            <a:off x="4456843" y="3470497"/>
            <a:ext cx="1376268" cy="58477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8" name="Rectángulo redondeado 27"/>
          <p:cNvSpPr/>
          <p:nvPr/>
        </p:nvSpPr>
        <p:spPr>
          <a:xfrm>
            <a:off x="2206781" y="3476254"/>
            <a:ext cx="1749587" cy="58477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Rectángulo redondeado 1"/>
          <p:cNvSpPr/>
          <p:nvPr/>
        </p:nvSpPr>
        <p:spPr>
          <a:xfrm>
            <a:off x="365655" y="3498171"/>
            <a:ext cx="1240735" cy="584775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9" name="CuadroTexto 8"/>
          <p:cNvSpPr txBox="1"/>
          <p:nvPr/>
        </p:nvSpPr>
        <p:spPr>
          <a:xfrm>
            <a:off x="361158" y="3538417"/>
            <a:ext cx="11645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chemeClr val="bg1"/>
                </a:solidFill>
              </a:rPr>
              <a:t>Cajicá</a:t>
            </a:r>
          </a:p>
          <a:p>
            <a:pPr algn="ctr"/>
            <a:r>
              <a:rPr lang="es-CO" sz="1400" b="1" dirty="0">
                <a:solidFill>
                  <a:schemeClr val="bg1"/>
                </a:solidFill>
              </a:rPr>
              <a:t>6 IED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2051057" y="3535483"/>
            <a:ext cx="207219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chemeClr val="bg1"/>
                </a:solidFill>
              </a:rPr>
              <a:t>Chía y Zipaquirá</a:t>
            </a:r>
          </a:p>
          <a:p>
            <a:pPr algn="ctr"/>
            <a:r>
              <a:rPr lang="es-CO" sz="1400" b="1" dirty="0">
                <a:solidFill>
                  <a:schemeClr val="bg1"/>
                </a:solidFill>
              </a:rPr>
              <a:t>20 IED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4338045" y="3517994"/>
            <a:ext cx="15895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chemeClr val="bg1"/>
                </a:solidFill>
              </a:rPr>
              <a:t>Tabio y Tenjo</a:t>
            </a:r>
          </a:p>
          <a:p>
            <a:pPr algn="ctr"/>
            <a:r>
              <a:rPr lang="es-CO" sz="1400" b="1" dirty="0">
                <a:solidFill>
                  <a:schemeClr val="bg1"/>
                </a:solidFill>
              </a:rPr>
              <a:t>5 IED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6458103" y="3490310"/>
            <a:ext cx="16578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chemeClr val="bg1"/>
                </a:solidFill>
              </a:rPr>
              <a:t>30 municipios</a:t>
            </a:r>
          </a:p>
          <a:p>
            <a:pPr algn="ctr"/>
            <a:r>
              <a:rPr lang="es-CO" sz="1400" b="1" dirty="0">
                <a:solidFill>
                  <a:schemeClr val="bg1"/>
                </a:solidFill>
              </a:rPr>
              <a:t>100 IED</a:t>
            </a:r>
          </a:p>
        </p:txBody>
      </p:sp>
      <p:sp>
        <p:nvSpPr>
          <p:cNvPr id="24" name="CuadroTexto 23"/>
          <p:cNvSpPr txBox="1"/>
          <p:nvPr/>
        </p:nvSpPr>
        <p:spPr>
          <a:xfrm>
            <a:off x="8464018" y="3486819"/>
            <a:ext cx="18014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dirty="0">
                <a:solidFill>
                  <a:schemeClr val="bg1"/>
                </a:solidFill>
              </a:rPr>
              <a:t>200 municipios</a:t>
            </a:r>
          </a:p>
          <a:p>
            <a:pPr algn="ctr"/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644204" y="1352849"/>
            <a:ext cx="1622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>
                <a:solidFill>
                  <a:schemeClr val="accent3">
                    <a:lumMod val="50000"/>
                  </a:schemeClr>
                </a:solidFill>
              </a:rPr>
              <a:t>PROYECCIÓN</a:t>
            </a:r>
          </a:p>
        </p:txBody>
      </p:sp>
      <p:sp>
        <p:nvSpPr>
          <p:cNvPr id="33" name="CuadroTexto 32"/>
          <p:cNvSpPr txBox="1"/>
          <p:nvPr/>
        </p:nvSpPr>
        <p:spPr>
          <a:xfrm>
            <a:off x="10973566" y="1885739"/>
            <a:ext cx="754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chemeClr val="accent3">
                    <a:lumMod val="50000"/>
                  </a:schemeClr>
                </a:solidFill>
              </a:rPr>
              <a:t>2027</a:t>
            </a:r>
          </a:p>
        </p:txBody>
      </p:sp>
      <p:sp>
        <p:nvSpPr>
          <p:cNvPr id="34" name="Título 4"/>
          <p:cNvSpPr txBox="1">
            <a:spLocks/>
          </p:cNvSpPr>
          <p:nvPr/>
        </p:nvSpPr>
        <p:spPr>
          <a:xfrm>
            <a:off x="561566" y="4366849"/>
            <a:ext cx="5512223" cy="9518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891" indent="-342891">
              <a:buFont typeface="Wingdings" panose="05000000000000000000" pitchFamily="2" charset="2"/>
              <a:buChar char="§"/>
            </a:pPr>
            <a:r>
              <a:rPr lang="es-CO" sz="1600" dirty="0"/>
              <a:t>Modelo de Mejoramiento de Gestión Escolar (2013)</a:t>
            </a:r>
          </a:p>
          <a:p>
            <a:pPr marL="342891" indent="-342891">
              <a:buFont typeface="Wingdings" panose="05000000000000000000" pitchFamily="2" charset="2"/>
              <a:buChar char="§"/>
            </a:pPr>
            <a:r>
              <a:rPr lang="es-CO" sz="1600" dirty="0"/>
              <a:t>Evaluación Cualitativa PROMCE (2019)</a:t>
            </a:r>
          </a:p>
        </p:txBody>
      </p:sp>
      <p:pic>
        <p:nvPicPr>
          <p:cNvPr id="10242" name="Picture 2" descr="logo-uniandes (1) - Biblioteca Universidad Ices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457" y="4462608"/>
            <a:ext cx="2421160" cy="1384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lecha derecha 13"/>
          <p:cNvSpPr/>
          <p:nvPr/>
        </p:nvSpPr>
        <p:spPr>
          <a:xfrm>
            <a:off x="5753881" y="5017617"/>
            <a:ext cx="688747" cy="181465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5" name="CuadroTexto 34"/>
          <p:cNvSpPr txBox="1"/>
          <p:nvPr/>
        </p:nvSpPr>
        <p:spPr>
          <a:xfrm>
            <a:off x="11745229" y="6336208"/>
            <a:ext cx="275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92976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o 18">
            <a:extLst>
              <a:ext uri="{FF2B5EF4-FFF2-40B4-BE49-F238E27FC236}">
                <a16:creationId xmlns:a16="http://schemas.microsoft.com/office/drawing/2014/main" id="{A507784D-184A-97FE-3AD1-E28FF595CFCE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20" name="object 2">
              <a:extLst>
                <a:ext uri="{FF2B5EF4-FFF2-40B4-BE49-F238E27FC236}">
                  <a16:creationId xmlns:a16="http://schemas.microsoft.com/office/drawing/2014/main" id="{EB8273A3-3BE4-C7D1-BC3E-56E67C073883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464043B6-7189-CB41-0E7A-66A49E97B4F5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16A7CC23-CB39-C319-FF5E-11797542A1C5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65999F64-4F05-23A3-9FCA-36CFCF80FE6A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3CB18956-43D2-10BB-C114-530DF96D90F2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+mj-lt"/>
              </a:endParaRPr>
            </a:p>
          </p:txBody>
        </p:sp>
      </p:grpSp>
      <p:sp>
        <p:nvSpPr>
          <p:cNvPr id="26" name="Rectangle 243">
            <a:extLst>
              <a:ext uri="{FF2B5EF4-FFF2-40B4-BE49-F238E27FC236}">
                <a16:creationId xmlns:a16="http://schemas.microsoft.com/office/drawing/2014/main" id="{4257E610-A473-D8C3-A416-418344AE8829}"/>
              </a:ext>
            </a:extLst>
          </p:cNvPr>
          <p:cNvSpPr/>
          <p:nvPr/>
        </p:nvSpPr>
        <p:spPr>
          <a:xfrm>
            <a:off x="1284322" y="6323512"/>
            <a:ext cx="3976748" cy="562333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ko-KR" alt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7" name="원형: 비어 있음 1">
            <a:extLst>
              <a:ext uri="{FF2B5EF4-FFF2-40B4-BE49-F238E27FC236}">
                <a16:creationId xmlns:a16="http://schemas.microsoft.com/office/drawing/2014/main" id="{1A6B6596-AD1B-BD0C-45BE-05825DDCA4D4}"/>
              </a:ext>
            </a:extLst>
          </p:cNvPr>
          <p:cNvSpPr/>
          <p:nvPr/>
        </p:nvSpPr>
        <p:spPr>
          <a:xfrm rot="2948538">
            <a:off x="6992753" y="162681"/>
            <a:ext cx="4145649" cy="4145649"/>
          </a:xfrm>
          <a:prstGeom prst="donut">
            <a:avLst/>
          </a:prstGeom>
          <a:solidFill>
            <a:srgbClr val="00A79C"/>
          </a:solidFill>
          <a:ln>
            <a:noFill/>
          </a:ln>
          <a:scene3d>
            <a:camera prst="isometricOffAxis1Top"/>
            <a:lightRig rig="threePt" dir="t"/>
          </a:scene3d>
          <a:sp3d extrusionH="1270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원형: 비어 있음 52">
            <a:extLst>
              <a:ext uri="{FF2B5EF4-FFF2-40B4-BE49-F238E27FC236}">
                <a16:creationId xmlns:a16="http://schemas.microsoft.com/office/drawing/2014/main" id="{87F66CF0-4F79-FFD0-45DC-EDC7DD1EF7D8}"/>
              </a:ext>
            </a:extLst>
          </p:cNvPr>
          <p:cNvSpPr>
            <a:spLocks noChangeAspect="1"/>
          </p:cNvSpPr>
          <p:nvPr/>
        </p:nvSpPr>
        <p:spPr>
          <a:xfrm rot="2608299">
            <a:off x="5732478" y="1140366"/>
            <a:ext cx="3577703" cy="3577703"/>
          </a:xfrm>
          <a:prstGeom prst="donut">
            <a:avLst/>
          </a:prstGeom>
          <a:solidFill>
            <a:srgbClr val="90298D"/>
          </a:solidFill>
          <a:ln>
            <a:noFill/>
          </a:ln>
          <a:scene3d>
            <a:camera prst="isometricOffAxis1Top">
              <a:rot lat="18075713" lon="18392745" rev="3158550"/>
            </a:camera>
            <a:lightRig rig="threePt" dir="t"/>
          </a:scene3d>
          <a:sp3d extrusionH="1143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원형: 비어 있음 53">
            <a:extLst>
              <a:ext uri="{FF2B5EF4-FFF2-40B4-BE49-F238E27FC236}">
                <a16:creationId xmlns:a16="http://schemas.microsoft.com/office/drawing/2014/main" id="{E13D5925-A83D-077B-213D-19B4A56ADC4D}"/>
              </a:ext>
            </a:extLst>
          </p:cNvPr>
          <p:cNvSpPr>
            <a:spLocks noChangeAspect="1"/>
          </p:cNvSpPr>
          <p:nvPr/>
        </p:nvSpPr>
        <p:spPr>
          <a:xfrm rot="2152115">
            <a:off x="4681210" y="2031770"/>
            <a:ext cx="3233607" cy="3233607"/>
          </a:xfrm>
          <a:prstGeom prst="donut">
            <a:avLst/>
          </a:prstGeom>
          <a:solidFill>
            <a:srgbClr val="FEC113"/>
          </a:solidFill>
          <a:ln>
            <a:noFill/>
          </a:ln>
          <a:scene3d>
            <a:camera prst="isometricOffAxis1Top">
              <a:rot lat="18075713" lon="18392745" rev="2558550"/>
            </a:camera>
            <a:lightRig rig="threePt" dir="t"/>
          </a:scene3d>
          <a:sp3d extrusionH="1016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원형: 비어 있음 64">
            <a:extLst>
              <a:ext uri="{FF2B5EF4-FFF2-40B4-BE49-F238E27FC236}">
                <a16:creationId xmlns:a16="http://schemas.microsoft.com/office/drawing/2014/main" id="{0719953F-27B2-034A-EAFE-7D68FF4CDCE7}"/>
              </a:ext>
            </a:extLst>
          </p:cNvPr>
          <p:cNvSpPr>
            <a:spLocks noChangeAspect="1"/>
          </p:cNvSpPr>
          <p:nvPr/>
        </p:nvSpPr>
        <p:spPr>
          <a:xfrm rot="1337595">
            <a:off x="3703619" y="2929305"/>
            <a:ext cx="2670168" cy="2670168"/>
          </a:xfrm>
          <a:prstGeom prst="donut">
            <a:avLst/>
          </a:prstGeom>
          <a:solidFill>
            <a:srgbClr val="92D050"/>
          </a:solidFill>
          <a:ln>
            <a:noFill/>
          </a:ln>
          <a:scene3d>
            <a:camera prst="isometricOffAxis1Top">
              <a:rot lat="18075713" lon="18392745" rev="1958550"/>
            </a:camera>
            <a:lightRig rig="threePt" dir="t"/>
          </a:scene3d>
          <a:sp3d extrusionH="889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1" name="원형: 비어 있음 65">
            <a:extLst>
              <a:ext uri="{FF2B5EF4-FFF2-40B4-BE49-F238E27FC236}">
                <a16:creationId xmlns:a16="http://schemas.microsoft.com/office/drawing/2014/main" id="{B313BBC1-E3F5-DB0F-607A-D05F6DAC66AF}"/>
              </a:ext>
            </a:extLst>
          </p:cNvPr>
          <p:cNvSpPr>
            <a:spLocks noChangeAspect="1"/>
          </p:cNvSpPr>
          <p:nvPr/>
        </p:nvSpPr>
        <p:spPr>
          <a:xfrm rot="977025">
            <a:off x="3325971" y="3922506"/>
            <a:ext cx="2014319" cy="2014319"/>
          </a:xfrm>
          <a:prstGeom prst="donut">
            <a:avLst/>
          </a:prstGeom>
          <a:solidFill>
            <a:srgbClr val="ED3326"/>
          </a:solidFill>
          <a:ln>
            <a:noFill/>
          </a:ln>
          <a:scene3d>
            <a:camera prst="isometricOffAxis1Top">
              <a:rot lat="18075713" lon="18392745" rev="1358550"/>
            </a:camera>
            <a:lightRig rig="threePt" dir="t"/>
          </a:scene3d>
          <a:sp3d extrusionH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원형: 비어 있음 66">
            <a:extLst>
              <a:ext uri="{FF2B5EF4-FFF2-40B4-BE49-F238E27FC236}">
                <a16:creationId xmlns:a16="http://schemas.microsoft.com/office/drawing/2014/main" id="{8049F49B-6E04-7076-9F2D-C34BB6962167}"/>
              </a:ext>
            </a:extLst>
          </p:cNvPr>
          <p:cNvSpPr>
            <a:spLocks noChangeAspect="1"/>
          </p:cNvSpPr>
          <p:nvPr/>
        </p:nvSpPr>
        <p:spPr>
          <a:xfrm>
            <a:off x="3016349" y="4847757"/>
            <a:ext cx="1492433" cy="1492433"/>
          </a:xfrm>
          <a:prstGeom prst="donut">
            <a:avLst/>
          </a:prstGeom>
          <a:solidFill>
            <a:srgbClr val="0070C0"/>
          </a:solidFill>
          <a:ln>
            <a:noFill/>
          </a:ln>
          <a:scene3d>
            <a:camera prst="isometricOffAxis1Top">
              <a:rot lat="18075713" lon="18392745" rev="758550"/>
            </a:camera>
            <a:lightRig rig="threePt" dir="t"/>
          </a:scene3d>
          <a:sp3d extrusionH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원형: 비어 있음 74">
            <a:extLst>
              <a:ext uri="{FF2B5EF4-FFF2-40B4-BE49-F238E27FC236}">
                <a16:creationId xmlns:a16="http://schemas.microsoft.com/office/drawing/2014/main" id="{D7BB3CDD-4ABB-36E4-FE66-3F2079205C80}"/>
              </a:ext>
            </a:extLst>
          </p:cNvPr>
          <p:cNvSpPr>
            <a:spLocks noChangeAspect="1"/>
          </p:cNvSpPr>
          <p:nvPr/>
        </p:nvSpPr>
        <p:spPr>
          <a:xfrm rot="19629298">
            <a:off x="3035221" y="5725153"/>
            <a:ext cx="912043" cy="912043"/>
          </a:xfrm>
          <a:prstGeom prst="donut">
            <a:avLst/>
          </a:prstGeom>
          <a:solidFill>
            <a:srgbClr val="A3B1BD"/>
          </a:solidFill>
          <a:ln>
            <a:noFill/>
          </a:ln>
          <a:scene3d>
            <a:camera prst="isometricOffAxis1Top">
              <a:rot lat="18075713" lon="18392745" rev="21458548"/>
            </a:camera>
            <a:lightRig rig="threePt" dir="t"/>
          </a:scene3d>
          <a:sp3d extrusionH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TextBox 108">
            <a:extLst>
              <a:ext uri="{FF2B5EF4-FFF2-40B4-BE49-F238E27FC236}">
                <a16:creationId xmlns:a16="http://schemas.microsoft.com/office/drawing/2014/main" id="{5D0904C1-9E5E-D35E-74F2-F7D048D24F02}"/>
              </a:ext>
            </a:extLst>
          </p:cNvPr>
          <p:cNvSpPr txBox="1"/>
          <p:nvPr/>
        </p:nvSpPr>
        <p:spPr>
          <a:xfrm>
            <a:off x="1699191" y="3781343"/>
            <a:ext cx="1061475" cy="489260"/>
          </a:xfrm>
          <a:prstGeom prst="rect">
            <a:avLst/>
          </a:prstGeom>
          <a:noFill/>
        </p:spPr>
        <p:txBody>
          <a:bodyPr wrap="square" lIns="0" tIns="0" rIns="72000" bIns="0" rtlCol="0" anchor="ctr">
            <a:noAutofit/>
          </a:bodyPr>
          <a:lstStyle>
            <a:defPPr>
              <a:defRPr lang="en-US"/>
            </a:defPPr>
            <a:lvl1pPr algn="ctr">
              <a:defRPr sz="3200">
                <a:latin typeface="나눔스퀘어 ExtraBold" panose="020B0600000101010101" pitchFamily="50" charset="-127"/>
                <a:ea typeface="나눔스퀘어 ExtraBold" panose="020B0600000101010101" pitchFamily="50" charset="-127"/>
              </a:defRPr>
            </a:lvl1pPr>
          </a:lstStyle>
          <a:p>
            <a:pPr algn="r"/>
            <a:r>
              <a:rPr lang="en-US" altLang="ko-K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012</a:t>
            </a:r>
            <a:endParaRPr lang="ko-KR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7" name="연결선: 꺾임 109">
            <a:extLst>
              <a:ext uri="{FF2B5EF4-FFF2-40B4-BE49-F238E27FC236}">
                <a16:creationId xmlns:a16="http://schemas.microsoft.com/office/drawing/2014/main" id="{AA31C3E0-D0E8-CDD0-CA15-BD7223BF82B9}"/>
              </a:ext>
            </a:extLst>
          </p:cNvPr>
          <p:cNvCxnSpPr>
            <a:cxnSpLocks/>
            <a:stCxn id="36" idx="3"/>
          </p:cNvCxnSpPr>
          <p:nvPr/>
        </p:nvCxnSpPr>
        <p:spPr>
          <a:xfrm>
            <a:off x="2760666" y="4025974"/>
            <a:ext cx="668335" cy="1077613"/>
          </a:xfrm>
          <a:prstGeom prst="bentConnector2">
            <a:avLst/>
          </a:prstGeom>
          <a:ln>
            <a:solidFill>
              <a:srgbClr val="0070C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112">
            <a:extLst>
              <a:ext uri="{FF2B5EF4-FFF2-40B4-BE49-F238E27FC236}">
                <a16:creationId xmlns:a16="http://schemas.microsoft.com/office/drawing/2014/main" id="{1D2083B6-23BB-2027-786F-8D2C297F6FBD}"/>
              </a:ext>
            </a:extLst>
          </p:cNvPr>
          <p:cNvSpPr txBox="1"/>
          <p:nvPr/>
        </p:nvSpPr>
        <p:spPr>
          <a:xfrm>
            <a:off x="2641085" y="2725357"/>
            <a:ext cx="1061475" cy="489260"/>
          </a:xfrm>
          <a:prstGeom prst="rect">
            <a:avLst/>
          </a:prstGeom>
          <a:noFill/>
        </p:spPr>
        <p:txBody>
          <a:bodyPr wrap="square" lIns="0" tIns="0" rIns="72000" bIns="0" rtlCol="0" anchor="ctr">
            <a:noAutofit/>
          </a:bodyPr>
          <a:lstStyle>
            <a:defPPr>
              <a:defRPr lang="en-US"/>
            </a:defPPr>
            <a:lvl1pPr algn="ctr">
              <a:defRPr sz="3200">
                <a:latin typeface="나눔스퀘어 ExtraBold" panose="020B0600000101010101" pitchFamily="50" charset="-127"/>
                <a:ea typeface="나눔스퀘어 ExtraBold" panose="020B0600000101010101" pitchFamily="50" charset="-127"/>
              </a:defRPr>
            </a:lvl1pPr>
          </a:lstStyle>
          <a:p>
            <a:pPr algn="r"/>
            <a:r>
              <a:rPr lang="en-US" altLang="ko-K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013</a:t>
            </a:r>
            <a:endParaRPr lang="ko-KR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39" name="연결선: 꺾임 113">
            <a:extLst>
              <a:ext uri="{FF2B5EF4-FFF2-40B4-BE49-F238E27FC236}">
                <a16:creationId xmlns:a16="http://schemas.microsoft.com/office/drawing/2014/main" id="{46CFBEB2-1895-50C9-902F-3D2639F89871}"/>
              </a:ext>
            </a:extLst>
          </p:cNvPr>
          <p:cNvCxnSpPr>
            <a:cxnSpLocks/>
            <a:stCxn id="38" idx="3"/>
          </p:cNvCxnSpPr>
          <p:nvPr/>
        </p:nvCxnSpPr>
        <p:spPr>
          <a:xfrm>
            <a:off x="3702560" y="2969986"/>
            <a:ext cx="229360" cy="1190535"/>
          </a:xfrm>
          <a:prstGeom prst="bentConnector2">
            <a:avLst/>
          </a:prstGeom>
          <a:ln>
            <a:solidFill>
              <a:srgbClr val="FF000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123">
            <a:extLst>
              <a:ext uri="{FF2B5EF4-FFF2-40B4-BE49-F238E27FC236}">
                <a16:creationId xmlns:a16="http://schemas.microsoft.com/office/drawing/2014/main" id="{41D86C22-A6D9-3F5A-C682-40549BCA5D71}"/>
              </a:ext>
            </a:extLst>
          </p:cNvPr>
          <p:cNvSpPr txBox="1"/>
          <p:nvPr/>
        </p:nvSpPr>
        <p:spPr>
          <a:xfrm>
            <a:off x="3706921" y="1834935"/>
            <a:ext cx="1038603" cy="489260"/>
          </a:xfrm>
          <a:prstGeom prst="rect">
            <a:avLst/>
          </a:prstGeom>
          <a:noFill/>
        </p:spPr>
        <p:txBody>
          <a:bodyPr wrap="square" lIns="0" tIns="0" rIns="72000" bIns="0" rtlCol="0" anchor="ctr">
            <a:noAutofit/>
          </a:bodyPr>
          <a:lstStyle>
            <a:defPPr>
              <a:defRPr lang="en-US"/>
            </a:defPPr>
            <a:lvl1pPr algn="ctr">
              <a:defRPr sz="3200">
                <a:latin typeface="나눔스퀘어 ExtraBold" panose="020B0600000101010101" pitchFamily="50" charset="-127"/>
                <a:ea typeface="나눔스퀘어 ExtraBold" panose="020B0600000101010101" pitchFamily="50" charset="-127"/>
              </a:defRPr>
            </a:lvl1pPr>
          </a:lstStyle>
          <a:p>
            <a:pPr algn="r"/>
            <a:r>
              <a:rPr lang="en-US" altLang="ko-K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014</a:t>
            </a:r>
            <a:endParaRPr lang="ko-KR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1" name="연결선: 꺾임 124">
            <a:extLst>
              <a:ext uri="{FF2B5EF4-FFF2-40B4-BE49-F238E27FC236}">
                <a16:creationId xmlns:a16="http://schemas.microsoft.com/office/drawing/2014/main" id="{49C2C128-D79F-7CAA-691D-FD0396A0B8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4110334" y="2754582"/>
            <a:ext cx="1631311" cy="278599"/>
          </a:xfrm>
          <a:prstGeom prst="bentConnector3">
            <a:avLst>
              <a:gd name="adj1" fmla="val 41"/>
            </a:avLst>
          </a:prstGeom>
          <a:ln>
            <a:solidFill>
              <a:srgbClr val="92D05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123">
            <a:extLst>
              <a:ext uri="{FF2B5EF4-FFF2-40B4-BE49-F238E27FC236}">
                <a16:creationId xmlns:a16="http://schemas.microsoft.com/office/drawing/2014/main" id="{665ED0E7-EB9C-714E-D268-E886A4266E54}"/>
              </a:ext>
            </a:extLst>
          </p:cNvPr>
          <p:cNvSpPr txBox="1"/>
          <p:nvPr/>
        </p:nvSpPr>
        <p:spPr>
          <a:xfrm>
            <a:off x="4741768" y="915074"/>
            <a:ext cx="1038603" cy="489260"/>
          </a:xfrm>
          <a:prstGeom prst="rect">
            <a:avLst/>
          </a:prstGeom>
          <a:noFill/>
        </p:spPr>
        <p:txBody>
          <a:bodyPr wrap="square" lIns="0" tIns="0" rIns="72000" bIns="0" rtlCol="0" anchor="ctr">
            <a:noAutofit/>
          </a:bodyPr>
          <a:lstStyle>
            <a:defPPr>
              <a:defRPr lang="en-US"/>
            </a:defPPr>
            <a:lvl1pPr algn="ctr">
              <a:defRPr sz="3200">
                <a:latin typeface="나눔스퀘어 ExtraBold" panose="020B0600000101010101" pitchFamily="50" charset="-127"/>
                <a:ea typeface="나눔스퀘어 ExtraBold" panose="020B0600000101010101" pitchFamily="50" charset="-127"/>
              </a:defRPr>
            </a:lvl1pPr>
          </a:lstStyle>
          <a:p>
            <a:pPr algn="r"/>
            <a:r>
              <a:rPr lang="en-US" altLang="ko-K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015</a:t>
            </a:r>
            <a:endParaRPr lang="ko-KR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5" name="연결선: 꺾임 124">
            <a:extLst>
              <a:ext uri="{FF2B5EF4-FFF2-40B4-BE49-F238E27FC236}">
                <a16:creationId xmlns:a16="http://schemas.microsoft.com/office/drawing/2014/main" id="{87815396-0FA0-63F2-304D-F7DCBAD85244}"/>
              </a:ext>
            </a:extLst>
          </p:cNvPr>
          <p:cNvCxnSpPr>
            <a:cxnSpLocks/>
            <a:stCxn id="44" idx="3"/>
          </p:cNvCxnSpPr>
          <p:nvPr/>
        </p:nvCxnSpPr>
        <p:spPr>
          <a:xfrm>
            <a:off x="5780369" y="1159704"/>
            <a:ext cx="308011" cy="1565653"/>
          </a:xfrm>
          <a:prstGeom prst="bentConnector2">
            <a:avLst/>
          </a:prstGeom>
          <a:ln>
            <a:solidFill>
              <a:srgbClr val="FED358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131">
            <a:extLst>
              <a:ext uri="{FF2B5EF4-FFF2-40B4-BE49-F238E27FC236}">
                <a16:creationId xmlns:a16="http://schemas.microsoft.com/office/drawing/2014/main" id="{B33180B8-DF61-A072-19AE-3F4C57FB80BA}"/>
              </a:ext>
            </a:extLst>
          </p:cNvPr>
          <p:cNvSpPr txBox="1"/>
          <p:nvPr/>
        </p:nvSpPr>
        <p:spPr>
          <a:xfrm>
            <a:off x="10318631" y="434526"/>
            <a:ext cx="1159515" cy="489260"/>
          </a:xfrm>
          <a:prstGeom prst="rect">
            <a:avLst/>
          </a:prstGeom>
          <a:noFill/>
        </p:spPr>
        <p:txBody>
          <a:bodyPr wrap="square" lIns="0" tIns="0" rIns="72000" bIns="0" rtlCol="0" anchor="ctr">
            <a:noAutofit/>
          </a:bodyPr>
          <a:lstStyle>
            <a:defPPr>
              <a:defRPr lang="en-US"/>
            </a:defPPr>
            <a:lvl1pPr algn="ctr">
              <a:defRPr sz="3200">
                <a:latin typeface="나눔스퀘어 ExtraBold" panose="020B0600000101010101" pitchFamily="50" charset="-127"/>
                <a:ea typeface="나눔스퀘어 ExtraBold" panose="020B0600000101010101" pitchFamily="50" charset="-127"/>
              </a:defRPr>
            </a:lvl1pPr>
          </a:lstStyle>
          <a:p>
            <a:pPr algn="r"/>
            <a:r>
              <a:rPr lang="en-US" altLang="ko-KR" sz="2800" b="1" dirty="0">
                <a:solidFill>
                  <a:srgbClr val="FF0000"/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017</a:t>
            </a:r>
            <a:endParaRPr lang="ko-KR" altLang="en-US" sz="2800" b="1" dirty="0">
              <a:solidFill>
                <a:srgbClr val="FF0000"/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47" name="연결선: 꺾임 132">
            <a:extLst>
              <a:ext uri="{FF2B5EF4-FFF2-40B4-BE49-F238E27FC236}">
                <a16:creationId xmlns:a16="http://schemas.microsoft.com/office/drawing/2014/main" id="{5EDD17FB-8E4D-ABF1-C648-534251829590}"/>
              </a:ext>
            </a:extLst>
          </p:cNvPr>
          <p:cNvCxnSpPr>
            <a:cxnSpLocks/>
          </p:cNvCxnSpPr>
          <p:nvPr/>
        </p:nvCxnSpPr>
        <p:spPr>
          <a:xfrm rot="10800000" flipV="1">
            <a:off x="9335415" y="1189763"/>
            <a:ext cx="599584" cy="432192"/>
          </a:xfrm>
          <a:prstGeom prst="bentConnector3">
            <a:avLst>
              <a:gd name="adj1" fmla="val 50000"/>
            </a:avLst>
          </a:prstGeom>
          <a:ln>
            <a:solidFill>
              <a:srgbClr val="00B0F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upo 59">
            <a:extLst>
              <a:ext uri="{FF2B5EF4-FFF2-40B4-BE49-F238E27FC236}">
                <a16:creationId xmlns:a16="http://schemas.microsoft.com/office/drawing/2014/main" id="{39F472A2-4B24-A215-0601-B899F6E838C7}"/>
              </a:ext>
            </a:extLst>
          </p:cNvPr>
          <p:cNvGrpSpPr/>
          <p:nvPr/>
        </p:nvGrpSpPr>
        <p:grpSpPr>
          <a:xfrm>
            <a:off x="791704" y="5025862"/>
            <a:ext cx="2370597" cy="1152960"/>
            <a:chOff x="2246226" y="4457370"/>
            <a:chExt cx="2370597" cy="1152960"/>
          </a:xfrm>
        </p:grpSpPr>
        <p:sp>
          <p:nvSpPr>
            <p:cNvPr id="34" name="TextBox 82">
              <a:extLst>
                <a:ext uri="{FF2B5EF4-FFF2-40B4-BE49-F238E27FC236}">
                  <a16:creationId xmlns:a16="http://schemas.microsoft.com/office/drawing/2014/main" id="{A47E33E5-3043-5E8B-253B-E7634DC57B63}"/>
                </a:ext>
              </a:extLst>
            </p:cNvPr>
            <p:cNvSpPr txBox="1"/>
            <p:nvPr/>
          </p:nvSpPr>
          <p:spPr>
            <a:xfrm>
              <a:off x="2268701" y="4457370"/>
              <a:ext cx="984583" cy="489260"/>
            </a:xfrm>
            <a:prstGeom prst="rect">
              <a:avLst/>
            </a:prstGeom>
            <a:noFill/>
          </p:spPr>
          <p:txBody>
            <a:bodyPr wrap="square" lIns="0" tIns="0" rIns="72000" bIns="0" rtlCol="0" anchor="ctr">
              <a:noAutofit/>
            </a:bodyPr>
            <a:lstStyle>
              <a:defPPr>
                <a:defRPr lang="en-US"/>
              </a:defPPr>
              <a:lvl1pPr algn="ctr">
                <a:defRPr sz="3200">
                  <a:latin typeface="나눔스퀘어 ExtraBold" panose="020B0600000101010101" pitchFamily="50" charset="-127"/>
                  <a:ea typeface="나눔스퀘어 ExtraBold" panose="020B0600000101010101" pitchFamily="50" charset="-127"/>
                </a:defRPr>
              </a:lvl1pPr>
            </a:lstStyle>
            <a:p>
              <a:pPr algn="r"/>
              <a:r>
                <a:rPr lang="en-US" altLang="ko-KR" sz="2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맑은 고딕" panose="020B0503020000020004" pitchFamily="50" charset="-127"/>
                  <a:cs typeface="Arial" panose="020B0604020202020204" pitchFamily="34" charset="0"/>
                </a:rPr>
                <a:t>2011</a:t>
              </a:r>
              <a:endParaRPr lang="ko-KR" alt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endParaRPr>
            </a:p>
          </p:txBody>
        </p:sp>
        <p:cxnSp>
          <p:nvCxnSpPr>
            <p:cNvPr id="35" name="연결선: 꺾임 4">
              <a:extLst>
                <a:ext uri="{FF2B5EF4-FFF2-40B4-BE49-F238E27FC236}">
                  <a16:creationId xmlns:a16="http://schemas.microsoft.com/office/drawing/2014/main" id="{D73634D8-0E0E-E247-8CFB-1DC0D06D21DF}"/>
                </a:ext>
              </a:extLst>
            </p:cNvPr>
            <p:cNvCxnSpPr>
              <a:cxnSpLocks/>
            </p:cNvCxnSpPr>
            <p:nvPr/>
          </p:nvCxnSpPr>
          <p:spPr>
            <a:xfrm>
              <a:off x="3310793" y="4655264"/>
              <a:ext cx="1306030" cy="955066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ACBAC8"/>
              </a:solidFill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bject 3">
              <a:extLst>
                <a:ext uri="{FF2B5EF4-FFF2-40B4-BE49-F238E27FC236}">
                  <a16:creationId xmlns:a16="http://schemas.microsoft.com/office/drawing/2014/main" id="{701D10B5-086E-C3C0-6012-89337A8A0BBD}"/>
                </a:ext>
              </a:extLst>
            </p:cNvPr>
            <p:cNvSpPr txBox="1"/>
            <p:nvPr/>
          </p:nvSpPr>
          <p:spPr>
            <a:xfrm>
              <a:off x="2246226" y="4960033"/>
              <a:ext cx="1107452" cy="566819"/>
            </a:xfrm>
            <a:prstGeom prst="rect">
              <a:avLst/>
            </a:prstGeom>
          </p:spPr>
          <p:txBody>
            <a:bodyPr vert="horz" wrap="square" lIns="0" tIns="12697" rIns="0" bIns="0" rtlCol="0">
              <a:spAutoFit/>
            </a:bodyPr>
            <a:lstStyle/>
            <a:p>
              <a:pPr marL="184142" marR="5079" indent="-171446">
                <a:buFont typeface="Arial" panose="020B0604020202020204" pitchFamily="34" charset="0"/>
                <a:buChar char="•"/>
                <a:tabLst>
                  <a:tab pos="299623" algn="l"/>
                </a:tabLst>
              </a:pPr>
              <a:r>
                <a:rPr lang="es-C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Poppins" panose="00000500000000000000" pitchFamily="50" charset="0"/>
                </a:rPr>
                <a:t>1 IE superior</a:t>
              </a:r>
            </a:p>
            <a:p>
              <a:pPr marL="184142" marR="5079" indent="-171446">
                <a:buFont typeface="Arial" panose="020B0604020202020204" pitchFamily="34" charset="0"/>
                <a:buChar char="•"/>
                <a:tabLst>
                  <a:tab pos="299623" algn="l"/>
                </a:tabLst>
              </a:pPr>
              <a:r>
                <a:rPr lang="es-C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Poppins" panose="00000500000000000000" pitchFamily="50" charset="0"/>
                </a:rPr>
                <a:t>3 IE alto</a:t>
              </a:r>
            </a:p>
            <a:p>
              <a:pPr marL="184142" marR="5079" indent="-171446">
                <a:buFont typeface="Arial" panose="020B0604020202020204" pitchFamily="34" charset="0"/>
                <a:buChar char="•"/>
                <a:tabLst>
                  <a:tab pos="299623" algn="l"/>
                </a:tabLst>
              </a:pPr>
              <a:r>
                <a:rPr lang="es-CO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Poppins" panose="00000500000000000000" pitchFamily="50" charset="0"/>
                </a:rPr>
                <a:t>2 IE medio </a:t>
              </a:r>
            </a:p>
          </p:txBody>
        </p:sp>
      </p:grpSp>
      <p:sp>
        <p:nvSpPr>
          <p:cNvPr id="49" name="object 3">
            <a:extLst>
              <a:ext uri="{FF2B5EF4-FFF2-40B4-BE49-F238E27FC236}">
                <a16:creationId xmlns:a16="http://schemas.microsoft.com/office/drawing/2014/main" id="{5BAE90C9-3582-A36C-899F-C321DEB5AE15}"/>
              </a:ext>
            </a:extLst>
          </p:cNvPr>
          <p:cNvSpPr txBox="1"/>
          <p:nvPr/>
        </p:nvSpPr>
        <p:spPr>
          <a:xfrm>
            <a:off x="1757497" y="4315410"/>
            <a:ext cx="4230043" cy="566819"/>
          </a:xfrm>
          <a:prstGeom prst="rect">
            <a:avLst/>
          </a:prstGeom>
        </p:spPr>
        <p:txBody>
          <a:bodyPr vert="horz" wrap="square" lIns="0" tIns="12697" rIns="0" bIns="0" rtlCol="0">
            <a:spAutoFit/>
          </a:bodyPr>
          <a:lstStyle/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1 IE superior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4 IE alto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1 IE medio </a:t>
            </a:r>
          </a:p>
        </p:txBody>
      </p:sp>
      <p:sp>
        <p:nvSpPr>
          <p:cNvPr id="50" name="object 3">
            <a:extLst>
              <a:ext uri="{FF2B5EF4-FFF2-40B4-BE49-F238E27FC236}">
                <a16:creationId xmlns:a16="http://schemas.microsoft.com/office/drawing/2014/main" id="{0A464024-6C72-9A89-746B-E01A4E18FCE0}"/>
              </a:ext>
            </a:extLst>
          </p:cNvPr>
          <p:cNvSpPr txBox="1"/>
          <p:nvPr/>
        </p:nvSpPr>
        <p:spPr>
          <a:xfrm>
            <a:off x="2627769" y="3279551"/>
            <a:ext cx="4230043" cy="382153"/>
          </a:xfrm>
          <a:prstGeom prst="rect">
            <a:avLst/>
          </a:prstGeom>
        </p:spPr>
        <p:txBody>
          <a:bodyPr vert="horz" wrap="square" lIns="0" tIns="12697" rIns="0" bIns="0" rtlCol="0">
            <a:spAutoFit/>
          </a:bodyPr>
          <a:lstStyle/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3 IE superior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3 IE alto</a:t>
            </a:r>
          </a:p>
        </p:txBody>
      </p:sp>
      <p:sp>
        <p:nvSpPr>
          <p:cNvPr id="51" name="object 3">
            <a:extLst>
              <a:ext uri="{FF2B5EF4-FFF2-40B4-BE49-F238E27FC236}">
                <a16:creationId xmlns:a16="http://schemas.microsoft.com/office/drawing/2014/main" id="{610E4A25-24B1-D240-531F-4F63A622578E}"/>
              </a:ext>
            </a:extLst>
          </p:cNvPr>
          <p:cNvSpPr txBox="1"/>
          <p:nvPr/>
        </p:nvSpPr>
        <p:spPr>
          <a:xfrm>
            <a:off x="3542174" y="2346989"/>
            <a:ext cx="3525663" cy="382153"/>
          </a:xfrm>
          <a:prstGeom prst="rect">
            <a:avLst/>
          </a:prstGeom>
        </p:spPr>
        <p:txBody>
          <a:bodyPr vert="horz" wrap="square" lIns="0" tIns="12697" rIns="0" bIns="0" rtlCol="0">
            <a:spAutoFit/>
          </a:bodyPr>
          <a:lstStyle/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2 IE categoría A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4 IE categoría B</a:t>
            </a:r>
          </a:p>
        </p:txBody>
      </p:sp>
      <p:sp>
        <p:nvSpPr>
          <p:cNvPr id="52" name="object 3">
            <a:extLst>
              <a:ext uri="{FF2B5EF4-FFF2-40B4-BE49-F238E27FC236}">
                <a16:creationId xmlns:a16="http://schemas.microsoft.com/office/drawing/2014/main" id="{10834CED-C72F-9741-AEA3-F6EF7569A508}"/>
              </a:ext>
            </a:extLst>
          </p:cNvPr>
          <p:cNvSpPr txBox="1"/>
          <p:nvPr/>
        </p:nvSpPr>
        <p:spPr>
          <a:xfrm>
            <a:off x="4671842" y="1422468"/>
            <a:ext cx="3525663" cy="382153"/>
          </a:xfrm>
          <a:prstGeom prst="rect">
            <a:avLst/>
          </a:prstGeom>
        </p:spPr>
        <p:txBody>
          <a:bodyPr vert="horz" wrap="square" lIns="0" tIns="12697" rIns="0" bIns="0" rtlCol="0">
            <a:spAutoFit/>
          </a:bodyPr>
          <a:lstStyle/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2 IE categoría A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4 IE categoría B</a:t>
            </a:r>
          </a:p>
        </p:txBody>
      </p:sp>
      <p:sp>
        <p:nvSpPr>
          <p:cNvPr id="62" name="TextBox 123">
            <a:extLst>
              <a:ext uri="{FF2B5EF4-FFF2-40B4-BE49-F238E27FC236}">
                <a16:creationId xmlns:a16="http://schemas.microsoft.com/office/drawing/2014/main" id="{0B6BEC79-7A37-9FA1-5A36-121CE1AA8F85}"/>
              </a:ext>
            </a:extLst>
          </p:cNvPr>
          <p:cNvSpPr txBox="1"/>
          <p:nvPr/>
        </p:nvSpPr>
        <p:spPr>
          <a:xfrm>
            <a:off x="5961943" y="318342"/>
            <a:ext cx="1038603" cy="489260"/>
          </a:xfrm>
          <a:prstGeom prst="rect">
            <a:avLst/>
          </a:prstGeom>
          <a:noFill/>
        </p:spPr>
        <p:txBody>
          <a:bodyPr wrap="square" lIns="0" tIns="0" rIns="72000" bIns="0" rtlCol="0" anchor="ctr">
            <a:noAutofit/>
          </a:bodyPr>
          <a:lstStyle>
            <a:defPPr>
              <a:defRPr lang="en-US"/>
            </a:defPPr>
            <a:lvl1pPr algn="ctr">
              <a:defRPr sz="3200">
                <a:latin typeface="나눔스퀘어 ExtraBold" panose="020B0600000101010101" pitchFamily="50" charset="-127"/>
                <a:ea typeface="나눔스퀘어 ExtraBold" panose="020B0600000101010101" pitchFamily="50" charset="-127"/>
              </a:defRPr>
            </a:lvl1pPr>
          </a:lstStyle>
          <a:p>
            <a:pPr algn="r"/>
            <a:r>
              <a:rPr lang="en-US" altLang="ko-K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맑은 고딕" panose="020B0503020000020004" pitchFamily="50" charset="-127"/>
                <a:cs typeface="Arial" panose="020B0604020202020204" pitchFamily="34" charset="0"/>
              </a:rPr>
              <a:t>2016</a:t>
            </a:r>
            <a:endParaRPr lang="ko-KR" alt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63" name="연결선: 꺾임 124">
            <a:extLst>
              <a:ext uri="{FF2B5EF4-FFF2-40B4-BE49-F238E27FC236}">
                <a16:creationId xmlns:a16="http://schemas.microsoft.com/office/drawing/2014/main" id="{4B8203AA-72FF-A0B9-AB22-411335A99A2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455742" y="1150183"/>
            <a:ext cx="1500535" cy="355552"/>
          </a:xfrm>
          <a:prstGeom prst="bentConnector3">
            <a:avLst>
              <a:gd name="adj1" fmla="val -274"/>
            </a:avLst>
          </a:prstGeom>
          <a:ln>
            <a:solidFill>
              <a:srgbClr val="90298D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bject 3">
            <a:extLst>
              <a:ext uri="{FF2B5EF4-FFF2-40B4-BE49-F238E27FC236}">
                <a16:creationId xmlns:a16="http://schemas.microsoft.com/office/drawing/2014/main" id="{57A32B2C-08E1-7126-4A61-C2EA9753FB05}"/>
              </a:ext>
            </a:extLst>
          </p:cNvPr>
          <p:cNvSpPr txBox="1"/>
          <p:nvPr/>
        </p:nvSpPr>
        <p:spPr>
          <a:xfrm>
            <a:off x="5917674" y="745280"/>
            <a:ext cx="3525663" cy="382153"/>
          </a:xfrm>
          <a:prstGeom prst="rect">
            <a:avLst/>
          </a:prstGeom>
        </p:spPr>
        <p:txBody>
          <a:bodyPr vert="horz" wrap="square" lIns="0" tIns="12697" rIns="0" bIns="0" rtlCol="0">
            <a:spAutoFit/>
          </a:bodyPr>
          <a:lstStyle/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3 IE categoría A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3 IE categoría B</a:t>
            </a: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E094B61D-0730-5062-0FB0-BE5EE542A367}"/>
              </a:ext>
            </a:extLst>
          </p:cNvPr>
          <p:cNvSpPr/>
          <p:nvPr/>
        </p:nvSpPr>
        <p:spPr>
          <a:xfrm>
            <a:off x="10010965" y="978025"/>
            <a:ext cx="2085169" cy="643931"/>
          </a:xfrm>
          <a:prstGeom prst="roundRect">
            <a:avLst/>
          </a:prstGeom>
          <a:solidFill>
            <a:srgbClr val="FF000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800" dirty="0">
              <a:solidFill>
                <a:schemeClr val="bg1"/>
              </a:solidFill>
              <a:latin typeface="+mj-lt"/>
              <a:cs typeface="Poppins" panose="00000500000000000000" pitchFamily="50" charset="0"/>
            </a:endParaRPr>
          </a:p>
        </p:txBody>
      </p:sp>
      <p:sp>
        <p:nvSpPr>
          <p:cNvPr id="67" name="object 3">
            <a:extLst>
              <a:ext uri="{FF2B5EF4-FFF2-40B4-BE49-F238E27FC236}">
                <a16:creationId xmlns:a16="http://schemas.microsoft.com/office/drawing/2014/main" id="{C7099BAE-D390-496B-27BD-57E466DECDD0}"/>
              </a:ext>
            </a:extLst>
          </p:cNvPr>
          <p:cNvSpPr txBox="1"/>
          <p:nvPr/>
        </p:nvSpPr>
        <p:spPr>
          <a:xfrm>
            <a:off x="10010964" y="1031969"/>
            <a:ext cx="3105021" cy="536041"/>
          </a:xfrm>
          <a:prstGeom prst="rect">
            <a:avLst/>
          </a:prstGeom>
        </p:spPr>
        <p:txBody>
          <a:bodyPr vert="horz" wrap="square" lIns="0" tIns="12697" rIns="0" bIns="0" rtlCol="0">
            <a:spAutoFit/>
          </a:bodyPr>
          <a:lstStyle/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700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1 IE categoría A+</a:t>
            </a:r>
          </a:p>
          <a:p>
            <a:pPr marL="184142" marR="5079" indent="-171446">
              <a:buFont typeface="Arial" panose="020B0604020202020204" pitchFamily="34" charset="0"/>
              <a:buChar char="•"/>
              <a:tabLst>
                <a:tab pos="299623" algn="l"/>
              </a:tabLst>
            </a:pPr>
            <a:r>
              <a:rPr lang="es-CO" sz="1700" dirty="0">
                <a:solidFill>
                  <a:schemeClr val="bg1"/>
                </a:solidFill>
                <a:latin typeface="+mj-lt"/>
                <a:cs typeface="Poppins" panose="00000500000000000000" pitchFamily="50" charset="0"/>
              </a:rPr>
              <a:t>5 IE categoría A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310C80F2-E9B8-B94C-9589-E24A8721148E}"/>
              </a:ext>
            </a:extLst>
          </p:cNvPr>
          <p:cNvSpPr/>
          <p:nvPr/>
        </p:nvSpPr>
        <p:spPr>
          <a:xfrm>
            <a:off x="7449638" y="5247834"/>
            <a:ext cx="443255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96" marR="6348">
              <a:tabLst>
                <a:tab pos="299623" algn="l"/>
              </a:tabLst>
            </a:pPr>
            <a:r>
              <a:rPr lang="es-CO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Avance significativo de acuerdo con los resultados en la Prueba Saber 11, destacando a </a:t>
            </a:r>
            <a:r>
              <a:rPr lang="es-CO" sz="1600" dirty="0">
                <a:solidFill>
                  <a:srgbClr val="FF0000"/>
                </a:solidFill>
                <a:latin typeface="+mj-lt"/>
                <a:cs typeface="Poppins" panose="00000500000000000000" pitchFamily="50" charset="0"/>
              </a:rPr>
              <a:t>Cajicá como modelo a nivel nacional, </a:t>
            </a:r>
            <a:r>
              <a:rPr lang="es-CO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Poppins" panose="00000500000000000000" pitchFamily="50" charset="0"/>
              </a:rPr>
              <a:t>convirtiéndolo en el mejor municipio en calidad educativa de Colombia.</a:t>
            </a:r>
          </a:p>
          <a:p>
            <a:pPr marL="12696" marR="6348">
              <a:tabLst>
                <a:tab pos="299623" algn="l"/>
              </a:tabLst>
            </a:pPr>
            <a:endParaRPr lang="es-CO" sz="1600" dirty="0">
              <a:solidFill>
                <a:srgbClr val="FF0000"/>
              </a:solidFill>
              <a:latin typeface="+mj-lt"/>
              <a:cs typeface="Poppins" panose="00000500000000000000" pitchFamily="50" charset="0"/>
            </a:endParaRPr>
          </a:p>
          <a:p>
            <a:pPr marL="12696" marR="6348">
              <a:tabLst>
                <a:tab pos="299623" algn="l"/>
              </a:tabLst>
            </a:pPr>
            <a:endParaRPr lang="es-CO" sz="1600" dirty="0">
              <a:solidFill>
                <a:srgbClr val="FF0000"/>
              </a:solidFill>
              <a:latin typeface="+mj-lt"/>
              <a:cs typeface="Poppins" panose="00000500000000000000" pitchFamily="50" charset="0"/>
            </a:endParaRPr>
          </a:p>
          <a:p>
            <a:pPr marL="12696" marR="6348" algn="just">
              <a:tabLst>
                <a:tab pos="299623" algn="l"/>
              </a:tabLst>
            </a:pPr>
            <a:endParaRPr lang="es-CO" sz="1600" i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Poppins" panose="00000500000000000000" pitchFamily="50" charset="0"/>
            </a:endParaRPr>
          </a:p>
        </p:txBody>
      </p:sp>
      <p:sp>
        <p:nvSpPr>
          <p:cNvPr id="54" name="Título 4"/>
          <p:cNvSpPr>
            <a:spLocks noGrp="1"/>
          </p:cNvSpPr>
          <p:nvPr>
            <p:ph type="ctrTitle"/>
          </p:nvPr>
        </p:nvSpPr>
        <p:spPr>
          <a:xfrm>
            <a:off x="210443" y="-162739"/>
            <a:ext cx="4309211" cy="1670821"/>
          </a:xfrm>
        </p:spPr>
        <p:txBody>
          <a:bodyPr>
            <a:normAutofit fontScale="90000"/>
          </a:bodyPr>
          <a:lstStyle/>
          <a:p>
            <a:r>
              <a:rPr lang="es-CO" sz="3600" dirty="0"/>
              <a:t>2.1 Modelo de trabajo:</a:t>
            </a:r>
            <a:br>
              <a:rPr lang="es-CO" sz="2800" dirty="0"/>
            </a:br>
            <a:r>
              <a:rPr lang="es-CO" sz="2700" dirty="0"/>
              <a:t>El logro de Cajicá en 2017, después de 6 años de trabajo</a:t>
            </a:r>
          </a:p>
        </p:txBody>
      </p:sp>
      <p:sp>
        <p:nvSpPr>
          <p:cNvPr id="53" name="CuadroTexto 52"/>
          <p:cNvSpPr txBox="1"/>
          <p:nvPr/>
        </p:nvSpPr>
        <p:spPr>
          <a:xfrm>
            <a:off x="11745229" y="6336208"/>
            <a:ext cx="275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9060244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8AA9DE1B-EC53-EE26-4AF8-C93184FCD0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13" t="286" r="-1893" b="1115"/>
          <a:stretch/>
        </p:blipFill>
        <p:spPr>
          <a:xfrm>
            <a:off x="-176983" y="-45632"/>
            <a:ext cx="12595125" cy="8068755"/>
          </a:xfrm>
          <a:prstGeom prst="rect">
            <a:avLst/>
          </a:prstGeom>
        </p:spPr>
      </p:pic>
      <p:sp>
        <p:nvSpPr>
          <p:cNvPr id="3" name="Rectángulo redondeado 2"/>
          <p:cNvSpPr/>
          <p:nvPr/>
        </p:nvSpPr>
        <p:spPr>
          <a:xfrm>
            <a:off x="5061817" y="204159"/>
            <a:ext cx="6201267" cy="66669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CO" sz="2800" b="1" dirty="0">
                <a:solidFill>
                  <a:schemeClr val="bg1"/>
                </a:solidFill>
              </a:rPr>
              <a:t>Avances y Resultados PROMCE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5061818" y="219634"/>
            <a:ext cx="7931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50" charset="0"/>
                <a:cs typeface="Poppins" panose="00000500000000000000" pitchFamily="50" charset="0"/>
              </a:rPr>
              <a:t>3</a:t>
            </a:r>
            <a:r>
              <a:rPr lang="es-CO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ppins" panose="00000500000000000000" pitchFamily="50" charset="0"/>
                <a:cs typeface="Poppins" panose="00000500000000000000" pitchFamily="50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0052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upo 80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82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3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4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5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6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5263359"/>
              </p:ext>
            </p:extLst>
          </p:nvPr>
        </p:nvGraphicFramePr>
        <p:xfrm>
          <a:off x="910989" y="1013871"/>
          <a:ext cx="5407299" cy="4594960"/>
        </p:xfrm>
        <a:graphic>
          <a:graphicData uri="http://schemas.openxmlformats.org/drawingml/2006/table">
            <a:tbl>
              <a:tblPr/>
              <a:tblGrid>
                <a:gridCol w="410931">
                  <a:extLst>
                    <a:ext uri="{9D8B030D-6E8A-4147-A177-3AD203B41FA5}">
                      <a16:colId xmlns:a16="http://schemas.microsoft.com/office/drawing/2014/main" val="582783381"/>
                    </a:ext>
                  </a:extLst>
                </a:gridCol>
                <a:gridCol w="2277203">
                  <a:extLst>
                    <a:ext uri="{9D8B030D-6E8A-4147-A177-3AD203B41FA5}">
                      <a16:colId xmlns:a16="http://schemas.microsoft.com/office/drawing/2014/main" val="3397020458"/>
                    </a:ext>
                  </a:extLst>
                </a:gridCol>
                <a:gridCol w="624061">
                  <a:extLst>
                    <a:ext uri="{9D8B030D-6E8A-4147-A177-3AD203B41FA5}">
                      <a16:colId xmlns:a16="http://schemas.microsoft.com/office/drawing/2014/main" val="3139949025"/>
                    </a:ext>
                  </a:extLst>
                </a:gridCol>
                <a:gridCol w="698368">
                  <a:extLst>
                    <a:ext uri="{9D8B030D-6E8A-4147-A177-3AD203B41FA5}">
                      <a16:colId xmlns:a16="http://schemas.microsoft.com/office/drawing/2014/main" val="1469974947"/>
                    </a:ext>
                  </a:extLst>
                </a:gridCol>
                <a:gridCol w="698368">
                  <a:extLst>
                    <a:ext uri="{9D8B030D-6E8A-4147-A177-3AD203B41FA5}">
                      <a16:colId xmlns:a16="http://schemas.microsoft.com/office/drawing/2014/main" val="619437680"/>
                    </a:ext>
                  </a:extLst>
                </a:gridCol>
                <a:gridCol w="698368">
                  <a:extLst>
                    <a:ext uri="{9D8B030D-6E8A-4147-A177-3AD203B41FA5}">
                      <a16:colId xmlns:a16="http://schemas.microsoft.com/office/drawing/2014/main" val="3470394374"/>
                    </a:ext>
                  </a:extLst>
                </a:gridCol>
              </a:tblGrid>
              <a:tr h="489745">
                <a:tc>
                  <a:txBody>
                    <a:bodyPr/>
                    <a:lstStyle/>
                    <a:p>
                      <a:pPr algn="ctr" fontAlgn="ctr"/>
                      <a:endParaRPr lang="es-CO" sz="1500" b="1" i="0" u="none" strike="noStrike" dirty="0">
                        <a:solidFill>
                          <a:schemeClr val="bg1"/>
                        </a:solidFill>
                        <a:effectLst/>
                        <a:latin typeface="Raleway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Raleway"/>
                        </a:rPr>
                        <a:t>Departament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Raleway"/>
                        </a:rPr>
                        <a:t>2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Raleway"/>
                        </a:rPr>
                        <a:t>2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Raleway"/>
                        </a:rPr>
                        <a:t>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Raleway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552065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BOYAC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0294681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O" sz="15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Raleway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s-CO" sz="15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Raleway"/>
                          <a:ea typeface="+mn-ea"/>
                          <a:cs typeface="+mn-cs"/>
                        </a:rPr>
                        <a:t>SANTAND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O" sz="15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Raleway"/>
                          <a:ea typeface="+mn-ea"/>
                          <a:cs typeface="+mn-cs"/>
                        </a:rPr>
                        <a:t>2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O" sz="15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Raleway"/>
                          <a:ea typeface="+mn-ea"/>
                          <a:cs typeface="+mn-cs"/>
                        </a:rPr>
                        <a:t>2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O" sz="15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Raleway"/>
                          <a:ea typeface="+mn-ea"/>
                          <a:cs typeface="+mn-cs"/>
                        </a:rPr>
                        <a:t>2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O" sz="15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Raleway"/>
                          <a:ea typeface="+mn-ea"/>
                          <a:cs typeface="+mn-cs"/>
                        </a:rPr>
                        <a:t>2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500894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NORTE SANTAND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2193679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QUINDÍO*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6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1272693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BOGOTÁ D.C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8916160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CUNDINAMAR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244211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HUIL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6753980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MET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492200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RISARALD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0722038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CASANA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4745877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CALDA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9629460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NARIÑ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6356810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VALLE DEL CAU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444459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ANTIOQU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70C0"/>
                          </a:solidFill>
                          <a:effectLst/>
                          <a:latin typeface="Raleway"/>
                        </a:rPr>
                        <a:t>2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0454497"/>
                  </a:ext>
                </a:extLst>
              </a:tr>
              <a:tr h="273681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CAQUET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3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3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Raleway"/>
                        </a:rPr>
                        <a:t>2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7606796"/>
                  </a:ext>
                </a:extLst>
              </a:tr>
            </a:tbl>
          </a:graphicData>
        </a:graphic>
      </p:graphicFrame>
      <p:sp>
        <p:nvSpPr>
          <p:cNvPr id="15" name="Título 4"/>
          <p:cNvSpPr txBox="1">
            <a:spLocks/>
          </p:cNvSpPr>
          <p:nvPr/>
        </p:nvSpPr>
        <p:spPr>
          <a:xfrm>
            <a:off x="340048" y="399689"/>
            <a:ext cx="10495904" cy="5095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400" dirty="0"/>
              <a:t>3.1 Promedio global por departamento, destacando el crecimiento de Cundinamarca  </a:t>
            </a:r>
          </a:p>
        </p:txBody>
      </p:sp>
      <p:sp>
        <p:nvSpPr>
          <p:cNvPr id="2" name="CuadroTexto 1"/>
          <p:cNvSpPr txBox="1"/>
          <p:nvPr/>
        </p:nvSpPr>
        <p:spPr>
          <a:xfrm>
            <a:off x="7323995" y="1663599"/>
            <a:ext cx="383177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es-CO" dirty="0"/>
              <a:t>Cundinamarca ha mantenido un crecimiento constante y ha cerrado la diferencia en sus resultados frente a ET como Bogotá. 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endParaRPr lang="es-CO" dirty="0"/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s-CO" dirty="0"/>
              <a:t>En 2020, la diferencia con Bogotá era de 5 puntos y en 2023, es de sólo 2 puntos.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692156" y="5689878"/>
            <a:ext cx="8642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endParaRPr lang="es-CO" sz="1200" dirty="0"/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s-CO" sz="1200" dirty="0"/>
              <a:t>En azul se resaltan departamentos similares a Cundinamarca por su dispersión geográfica, pobreza multidimensional y Establecimientos Educativos.</a:t>
            </a:r>
          </a:p>
          <a:p>
            <a:pPr marL="285744" indent="-285744">
              <a:buFont typeface="Arial" panose="020B0604020202020204" pitchFamily="34" charset="0"/>
              <a:buChar char="•"/>
            </a:pPr>
            <a:endParaRPr lang="es-CO" sz="1200" dirty="0"/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es-CO" sz="1200" dirty="0"/>
              <a:t>En el caso de Quindío para el año 2023, sólo 93 sedes reportan Pruebas Saber 11, frente a las 399 de Cundinamarca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11745229" y="6336209"/>
            <a:ext cx="446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8</a:t>
            </a:r>
          </a:p>
        </p:txBody>
      </p:sp>
      <p:sp>
        <p:nvSpPr>
          <p:cNvPr id="7" name="Rectángulo 6"/>
          <p:cNvSpPr/>
          <p:nvPr/>
        </p:nvSpPr>
        <p:spPr>
          <a:xfrm>
            <a:off x="5588001" y="1011081"/>
            <a:ext cx="730287" cy="4620739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1586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n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0993" y="2301436"/>
            <a:ext cx="394633" cy="394633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543" y="2600652"/>
            <a:ext cx="348344" cy="394633"/>
          </a:xfrm>
          <a:prstGeom prst="rect">
            <a:avLst/>
          </a:prstGeom>
        </p:spPr>
      </p:pic>
      <p:grpSp>
        <p:nvGrpSpPr>
          <p:cNvPr id="81" name="Grupo 80">
            <a:extLst>
              <a:ext uri="{FF2B5EF4-FFF2-40B4-BE49-F238E27FC236}">
                <a16:creationId xmlns:a16="http://schemas.microsoft.com/office/drawing/2014/main" id="{006EC15C-5A1A-815E-EC96-B29371617F62}"/>
              </a:ext>
            </a:extLst>
          </p:cNvPr>
          <p:cNvGrpSpPr/>
          <p:nvPr/>
        </p:nvGrpSpPr>
        <p:grpSpPr>
          <a:xfrm flipV="1">
            <a:off x="-3854" y="6763597"/>
            <a:ext cx="12195854" cy="108592"/>
            <a:chOff x="-1666028" y="891002"/>
            <a:chExt cx="12033597" cy="119888"/>
          </a:xfrm>
        </p:grpSpPr>
        <p:sp>
          <p:nvSpPr>
            <p:cNvPr id="82" name="object 2">
              <a:extLst>
                <a:ext uri="{FF2B5EF4-FFF2-40B4-BE49-F238E27FC236}">
                  <a16:creationId xmlns:a16="http://schemas.microsoft.com/office/drawing/2014/main" id="{BDEE0379-33BD-3583-E4D9-0C2C6257607B}"/>
                </a:ext>
              </a:extLst>
            </p:cNvPr>
            <p:cNvSpPr/>
            <p:nvPr/>
          </p:nvSpPr>
          <p:spPr>
            <a:xfrm>
              <a:off x="8541317" y="891002"/>
              <a:ext cx="1826252" cy="119888"/>
            </a:xfrm>
            <a:custGeom>
              <a:avLst/>
              <a:gdLst/>
              <a:ahLst/>
              <a:cxnLst/>
              <a:rect l="l" t="t" r="r" b="b"/>
              <a:pathLst>
                <a:path w="1225550" h="92075">
                  <a:moveTo>
                    <a:pt x="0" y="91541"/>
                  </a:moveTo>
                  <a:lnTo>
                    <a:pt x="1225334" y="91541"/>
                  </a:lnTo>
                  <a:lnTo>
                    <a:pt x="1225334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ED3326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3" name="object 3">
              <a:extLst>
                <a:ext uri="{FF2B5EF4-FFF2-40B4-BE49-F238E27FC236}">
                  <a16:creationId xmlns:a16="http://schemas.microsoft.com/office/drawing/2014/main" id="{7C8BB919-AA0E-5298-FDB9-79605910D7F1}"/>
                </a:ext>
              </a:extLst>
            </p:cNvPr>
            <p:cNvSpPr/>
            <p:nvPr/>
          </p:nvSpPr>
          <p:spPr>
            <a:xfrm>
              <a:off x="2587342" y="894081"/>
              <a:ext cx="1984658" cy="116809"/>
            </a:xfrm>
            <a:custGeom>
              <a:avLst/>
              <a:gdLst/>
              <a:ahLst/>
              <a:cxnLst/>
              <a:rect l="l" t="t" r="r" b="b"/>
              <a:pathLst>
                <a:path w="977900" h="92075">
                  <a:moveTo>
                    <a:pt x="0" y="91541"/>
                  </a:moveTo>
                  <a:lnTo>
                    <a:pt x="977900" y="91541"/>
                  </a:lnTo>
                  <a:lnTo>
                    <a:pt x="977900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0298D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4" name="object 4">
              <a:extLst>
                <a:ext uri="{FF2B5EF4-FFF2-40B4-BE49-F238E27FC236}">
                  <a16:creationId xmlns:a16="http://schemas.microsoft.com/office/drawing/2014/main" id="{BD2FE8AA-3637-1A3A-C886-01F9D971149F}"/>
                </a:ext>
              </a:extLst>
            </p:cNvPr>
            <p:cNvSpPr/>
            <p:nvPr/>
          </p:nvSpPr>
          <p:spPr>
            <a:xfrm>
              <a:off x="4572000" y="891003"/>
              <a:ext cx="1984658" cy="119887"/>
            </a:xfrm>
            <a:custGeom>
              <a:avLst/>
              <a:gdLst/>
              <a:ahLst/>
              <a:cxnLst/>
              <a:rect l="l" t="t" r="r" b="b"/>
              <a:pathLst>
                <a:path w="748029" h="92075">
                  <a:moveTo>
                    <a:pt x="0" y="91541"/>
                  </a:moveTo>
                  <a:lnTo>
                    <a:pt x="747979" y="91541"/>
                  </a:lnTo>
                  <a:lnTo>
                    <a:pt x="74797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FEC113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5" name="object 5">
              <a:extLst>
                <a:ext uri="{FF2B5EF4-FFF2-40B4-BE49-F238E27FC236}">
                  <a16:creationId xmlns:a16="http://schemas.microsoft.com/office/drawing/2014/main" id="{1CF41065-50A4-2A15-2075-ECD590C7DA62}"/>
                </a:ext>
              </a:extLst>
            </p:cNvPr>
            <p:cNvSpPr/>
            <p:nvPr/>
          </p:nvSpPr>
          <p:spPr>
            <a:xfrm>
              <a:off x="6556658" y="891002"/>
              <a:ext cx="1984658" cy="119888"/>
            </a:xfrm>
            <a:custGeom>
              <a:avLst/>
              <a:gdLst/>
              <a:ahLst/>
              <a:cxnLst/>
              <a:rect l="l" t="t" r="r" b="b"/>
              <a:pathLst>
                <a:path w="551179" h="92075">
                  <a:moveTo>
                    <a:pt x="0" y="91541"/>
                  </a:moveTo>
                  <a:lnTo>
                    <a:pt x="550799" y="91541"/>
                  </a:lnTo>
                  <a:lnTo>
                    <a:pt x="550799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  <p:sp>
          <p:nvSpPr>
            <p:cNvPr id="86" name="object 6">
              <a:extLst>
                <a:ext uri="{FF2B5EF4-FFF2-40B4-BE49-F238E27FC236}">
                  <a16:creationId xmlns:a16="http://schemas.microsoft.com/office/drawing/2014/main" id="{4F4EA28E-8FEA-580D-8520-80FB632F95E4}"/>
                </a:ext>
              </a:extLst>
            </p:cNvPr>
            <p:cNvSpPr/>
            <p:nvPr/>
          </p:nvSpPr>
          <p:spPr>
            <a:xfrm>
              <a:off x="-1666028" y="891002"/>
              <a:ext cx="4253370" cy="119887"/>
            </a:xfrm>
            <a:custGeom>
              <a:avLst/>
              <a:gdLst/>
              <a:ahLst/>
              <a:cxnLst/>
              <a:rect l="l" t="t" r="r" b="b"/>
              <a:pathLst>
                <a:path w="4276090" h="92075">
                  <a:moveTo>
                    <a:pt x="0" y="91541"/>
                  </a:moveTo>
                  <a:lnTo>
                    <a:pt x="4275556" y="91541"/>
                  </a:lnTo>
                  <a:lnTo>
                    <a:pt x="4275556" y="0"/>
                  </a:lnTo>
                  <a:lnTo>
                    <a:pt x="0" y="0"/>
                  </a:lnTo>
                  <a:lnTo>
                    <a:pt x="0" y="91541"/>
                  </a:lnTo>
                  <a:close/>
                </a:path>
              </a:pathLst>
            </a:custGeom>
            <a:solidFill>
              <a:srgbClr val="00A79C"/>
            </a:solidFill>
          </p:spPr>
          <p:txBody>
            <a:bodyPr wrap="square" lIns="0" tIns="0" rIns="0" bIns="0" rtlCol="0"/>
            <a:lstStyle/>
            <a:p>
              <a:endParaRPr sz="2132" dirty="0">
                <a:latin typeface="Poppins" panose="00000500000000000000" pitchFamily="50" charset="0"/>
                <a:cs typeface="Poppins" panose="00000500000000000000" pitchFamily="50" charset="0"/>
              </a:endParaRPr>
            </a:p>
          </p:txBody>
        </p:sp>
      </p:grpSp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664656"/>
              </p:ext>
            </p:extLst>
          </p:nvPr>
        </p:nvGraphicFramePr>
        <p:xfrm>
          <a:off x="679359" y="1841926"/>
          <a:ext cx="2944294" cy="2998379"/>
        </p:xfrm>
        <a:graphic>
          <a:graphicData uri="http://schemas.openxmlformats.org/drawingml/2006/table">
            <a:tbl>
              <a:tblPr/>
              <a:tblGrid>
                <a:gridCol w="431867">
                  <a:extLst>
                    <a:ext uri="{9D8B030D-6E8A-4147-A177-3AD203B41FA5}">
                      <a16:colId xmlns:a16="http://schemas.microsoft.com/office/drawing/2014/main" val="1701133915"/>
                    </a:ext>
                  </a:extLst>
                </a:gridCol>
                <a:gridCol w="1485699">
                  <a:extLst>
                    <a:ext uri="{9D8B030D-6E8A-4147-A177-3AD203B41FA5}">
                      <a16:colId xmlns:a16="http://schemas.microsoft.com/office/drawing/2014/main" val="2409703754"/>
                    </a:ext>
                  </a:extLst>
                </a:gridCol>
                <a:gridCol w="1026728">
                  <a:extLst>
                    <a:ext uri="{9D8B030D-6E8A-4147-A177-3AD203B41FA5}">
                      <a16:colId xmlns:a16="http://schemas.microsoft.com/office/drawing/2014/main" val="1438954464"/>
                    </a:ext>
                  </a:extLst>
                </a:gridCol>
              </a:tblGrid>
              <a:tr h="533133">
                <a:tc>
                  <a:txBody>
                    <a:bodyPr/>
                    <a:lstStyle/>
                    <a:p>
                      <a:pPr algn="ctr" fontAlgn="ctr"/>
                      <a:endParaRPr lang="es-CO" sz="15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partam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med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250862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ndí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5887874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ndinamar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547457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yac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009850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an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442181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got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814198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riñ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1597534"/>
                  </a:ext>
                </a:extLst>
              </a:tr>
              <a:tr h="456565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e de Santan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3499701"/>
                  </a:ext>
                </a:extLst>
              </a:tr>
              <a:tr h="285503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ioqu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534443"/>
                  </a:ext>
                </a:extLst>
              </a:tr>
            </a:tbl>
          </a:graphicData>
        </a:graphic>
      </p:graphicFrame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860884"/>
              </p:ext>
            </p:extLst>
          </p:nvPr>
        </p:nvGraphicFramePr>
        <p:xfrm>
          <a:off x="4766745" y="1826019"/>
          <a:ext cx="2801260" cy="3015412"/>
        </p:xfrm>
        <a:graphic>
          <a:graphicData uri="http://schemas.openxmlformats.org/drawingml/2006/table">
            <a:tbl>
              <a:tblPr/>
              <a:tblGrid>
                <a:gridCol w="338143">
                  <a:extLst>
                    <a:ext uri="{9D8B030D-6E8A-4147-A177-3AD203B41FA5}">
                      <a16:colId xmlns:a16="http://schemas.microsoft.com/office/drawing/2014/main" val="869993822"/>
                    </a:ext>
                  </a:extLst>
                </a:gridCol>
                <a:gridCol w="1534201">
                  <a:extLst>
                    <a:ext uri="{9D8B030D-6E8A-4147-A177-3AD203B41FA5}">
                      <a16:colId xmlns:a16="http://schemas.microsoft.com/office/drawing/2014/main" val="4267304383"/>
                    </a:ext>
                  </a:extLst>
                </a:gridCol>
                <a:gridCol w="928916">
                  <a:extLst>
                    <a:ext uri="{9D8B030D-6E8A-4147-A177-3AD203B41FA5}">
                      <a16:colId xmlns:a16="http://schemas.microsoft.com/office/drawing/2014/main" val="1010868576"/>
                    </a:ext>
                  </a:extLst>
                </a:gridCol>
              </a:tblGrid>
              <a:tr h="558048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partam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med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862080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an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8222253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yac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289735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e de Santan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3389726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ndí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155587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got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258844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ndinamar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2174707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riñ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155418"/>
                  </a:ext>
                </a:extLst>
              </a:tr>
              <a:tr h="28437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ioqu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9470681"/>
                  </a:ext>
                </a:extLst>
              </a:tr>
            </a:tbl>
          </a:graphicData>
        </a:graphic>
      </p:graphicFrame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068382"/>
              </p:ext>
            </p:extLst>
          </p:nvPr>
        </p:nvGraphicFramePr>
        <p:xfrm>
          <a:off x="8614869" y="1827411"/>
          <a:ext cx="2880446" cy="2817163"/>
        </p:xfrm>
        <a:graphic>
          <a:graphicData uri="http://schemas.openxmlformats.org/drawingml/2006/table">
            <a:tbl>
              <a:tblPr/>
              <a:tblGrid>
                <a:gridCol w="416120">
                  <a:extLst>
                    <a:ext uri="{9D8B030D-6E8A-4147-A177-3AD203B41FA5}">
                      <a16:colId xmlns:a16="http://schemas.microsoft.com/office/drawing/2014/main" val="3993810304"/>
                    </a:ext>
                  </a:extLst>
                </a:gridCol>
                <a:gridCol w="1666041">
                  <a:extLst>
                    <a:ext uri="{9D8B030D-6E8A-4147-A177-3AD203B41FA5}">
                      <a16:colId xmlns:a16="http://schemas.microsoft.com/office/drawing/2014/main" val="115226630"/>
                    </a:ext>
                  </a:extLst>
                </a:gridCol>
                <a:gridCol w="798285">
                  <a:extLst>
                    <a:ext uri="{9D8B030D-6E8A-4147-A177-3AD203B41FA5}">
                      <a16:colId xmlns:a16="http://schemas.microsoft.com/office/drawing/2014/main" val="1836233013"/>
                    </a:ext>
                  </a:extLst>
                </a:gridCol>
              </a:tblGrid>
              <a:tr h="560947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partament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iferenc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557553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ndinamar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886258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ndí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204845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got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634990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yac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670666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an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2466819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riñ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900637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tioqu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4725560"/>
                  </a:ext>
                </a:extLst>
              </a:tr>
              <a:tr h="282027"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5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e de Santande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1910319"/>
                  </a:ext>
                </a:extLst>
              </a:tr>
            </a:tbl>
          </a:graphicData>
        </a:graphic>
      </p:graphicFrame>
      <p:sp>
        <p:nvSpPr>
          <p:cNvPr id="14" name="Título 4"/>
          <p:cNvSpPr txBox="1">
            <a:spLocks/>
          </p:cNvSpPr>
          <p:nvPr/>
        </p:nvSpPr>
        <p:spPr>
          <a:xfrm>
            <a:off x="216248" y="317339"/>
            <a:ext cx="10495904" cy="50951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2800" dirty="0"/>
              <a:t>3.2 Comparativo de promedios entre EE urbanos y rurales 2023</a:t>
            </a:r>
          </a:p>
        </p:txBody>
      </p:sp>
      <p:sp>
        <p:nvSpPr>
          <p:cNvPr id="2" name="CuadroTexto 1"/>
          <p:cNvSpPr txBox="1"/>
          <p:nvPr/>
        </p:nvSpPr>
        <p:spPr>
          <a:xfrm>
            <a:off x="870858" y="1474628"/>
            <a:ext cx="303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PROMEDIO EE RURALES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5048597" y="1479296"/>
            <a:ext cx="303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PROMEDIO EE URBANOS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8440702" y="1490605"/>
            <a:ext cx="34610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DIFERENCIA EE URBANO Y RURAL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437535" y="5434049"/>
            <a:ext cx="112007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buFont typeface="Wingdings" panose="05000000000000000000" pitchFamily="2" charset="2"/>
              <a:buChar char="§"/>
            </a:pPr>
            <a:r>
              <a:rPr lang="es-ES" sz="1400" dirty="0"/>
              <a:t>La brecha entre el promedio global de los EE rurales y urbanos es significativamente menor en Cundinamarca frente a ET similares.</a:t>
            </a:r>
          </a:p>
          <a:p>
            <a:pPr marL="285744" indent="-285744">
              <a:buFont typeface="Wingdings" panose="05000000000000000000" pitchFamily="2" charset="2"/>
              <a:buChar char="§"/>
            </a:pPr>
            <a:r>
              <a:rPr lang="es-CO" sz="1400" dirty="0"/>
              <a:t>Cundinamarca es el departamento con menor diferencia en los resultados globales entre rurales y urbanos.</a:t>
            </a:r>
          </a:p>
          <a:p>
            <a:pPr marL="285744" indent="-285744">
              <a:buFont typeface="Wingdings" panose="05000000000000000000" pitchFamily="2" charset="2"/>
              <a:buChar char="§"/>
            </a:pPr>
            <a:r>
              <a:rPr lang="es-CO" sz="1400" dirty="0"/>
              <a:t>Los resultados de otros departamentos están determinados por los promedios de los EE urbanos.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11745229" y="6336209"/>
            <a:ext cx="4467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bg1">
                    <a:lumMod val="65000"/>
                  </a:schemeClr>
                </a:solidFill>
              </a:rPr>
              <a:t>9</a:t>
            </a:r>
          </a:p>
        </p:txBody>
      </p:sp>
      <p:sp>
        <p:nvSpPr>
          <p:cNvPr id="9" name="AutoShape 8" descr="Estrella amarilla sobre fondo blanco. | Vector Premium"/>
          <p:cNvSpPr>
            <a:spLocks noChangeAspect="1" noChangeArrowheads="1"/>
          </p:cNvSpPr>
          <p:nvPr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7460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CosineVTI">
  <a:themeElements>
    <a:clrScheme name="AnalogousFromRegularSeed_2SEEDS">
      <a:dk1>
        <a:srgbClr val="000000"/>
      </a:dk1>
      <a:lt1>
        <a:srgbClr val="FFFFFF"/>
      </a:lt1>
      <a:dk2>
        <a:srgbClr val="1B2F2E"/>
      </a:dk2>
      <a:lt2>
        <a:srgbClr val="F3F1F0"/>
      </a:lt2>
      <a:accent1>
        <a:srgbClr val="3B9EB1"/>
      </a:accent1>
      <a:accent2>
        <a:srgbClr val="46B196"/>
      </a:accent2>
      <a:accent3>
        <a:srgbClr val="4D7EC3"/>
      </a:accent3>
      <a:accent4>
        <a:srgbClr val="B13B3E"/>
      </a:accent4>
      <a:accent5>
        <a:srgbClr val="C37B4D"/>
      </a:accent5>
      <a:accent6>
        <a:srgbClr val="B19A3B"/>
      </a:accent6>
      <a:hlink>
        <a:srgbClr val="C05944"/>
      </a:hlink>
      <a:folHlink>
        <a:srgbClr val="7F7F7F"/>
      </a:folHlink>
    </a:clrScheme>
    <a:fontScheme name="Custom 50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sineVTI" id="{4F4449D5-5E9D-4D83-9E2A-939F9CF20276}" vid="{03166EA1-370F-4321-A61E-8851365B4312}"/>
    </a:ext>
  </a:extLst>
</a:theme>
</file>

<file path=ppt/theme/theme2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238</TotalTime>
  <Words>1096</Words>
  <Application>Microsoft Macintosh PowerPoint</Application>
  <PresentationFormat>Panorámica</PresentationFormat>
  <Paragraphs>518</Paragraphs>
  <Slides>14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5" baseType="lpstr">
      <vt:lpstr>Arial</vt:lpstr>
      <vt:lpstr>Calibri</vt:lpstr>
      <vt:lpstr>Georgia</vt:lpstr>
      <vt:lpstr>Grandview</vt:lpstr>
      <vt:lpstr>Poppins</vt:lpstr>
      <vt:lpstr>Raleway</vt:lpstr>
      <vt:lpstr>Segoe UI</vt:lpstr>
      <vt:lpstr>Wingdings</vt:lpstr>
      <vt:lpstr>CosineVTI</vt:lpstr>
      <vt:lpstr>Whit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2.1 Modelo de trabajo: El logro de Cajicá en 2017, después de 6 años de trabaj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4.1  Definir aspiración y métrica (3) Como resultado de la combinación de las aspiraciones descritas en la diapositiva anterior, se generaría este cambio en la distribución entre categoría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cordia in the Americas</dc:title>
  <dc:creator>Sebastián González</dc:creator>
  <cp:lastModifiedBy>patricia castañeda paez</cp:lastModifiedBy>
  <cp:revision>246</cp:revision>
  <cp:lastPrinted>2023-12-26T13:54:36Z</cp:lastPrinted>
  <dcterms:created xsi:type="dcterms:W3CDTF">2023-05-05T14:54:44Z</dcterms:created>
  <dcterms:modified xsi:type="dcterms:W3CDTF">2024-04-03T10:52:28Z</dcterms:modified>
</cp:coreProperties>
</file>